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440" r:id="rId2"/>
    <p:sldId id="258" r:id="rId3"/>
    <p:sldId id="432" r:id="rId4"/>
    <p:sldId id="434" r:id="rId5"/>
    <p:sldId id="433" r:id="rId6"/>
    <p:sldId id="435" r:id="rId7"/>
    <p:sldId id="439" r:id="rId8"/>
    <p:sldId id="261" r:id="rId9"/>
    <p:sldId id="436" r:id="rId10"/>
    <p:sldId id="438" r:id="rId11"/>
    <p:sldId id="263" r:id="rId12"/>
    <p:sldId id="441" r:id="rId13"/>
    <p:sldId id="437" r:id="rId14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8D4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5" autoAdjust="0"/>
    <p:restoredTop sz="91187" autoAdjust="0"/>
  </p:normalViewPr>
  <p:slideViewPr>
    <p:cSldViewPr snapToGrid="0" showGuides="1">
      <p:cViewPr varScale="1">
        <p:scale>
          <a:sx n="100" d="100"/>
          <a:sy n="100" d="100"/>
        </p:scale>
        <p:origin x="96" y="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8" d="100"/>
          <a:sy n="88" d="100"/>
        </p:scale>
        <p:origin x="355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4645EFC-6F8A-4D03-A8FD-609D821996C8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9E5C636-41E5-44C3-8DCA-6A93A83CF828}">
      <dgm:prSet phldrT="[Texte]" custT="1"/>
      <dgm:spPr/>
      <dgm:t>
        <a:bodyPr/>
        <a:lstStyle/>
        <a:p>
          <a:br>
            <a:rPr lang="fr-FR" sz="1000" dirty="0"/>
          </a:br>
          <a:r>
            <a:rPr lang="fr-FR" sz="2400" dirty="0"/>
            <a:t>04/10</a:t>
          </a:r>
          <a:br>
            <a:rPr lang="fr-FR" sz="2000" dirty="0"/>
          </a:br>
          <a:r>
            <a:rPr lang="fr-FR" sz="1400" dirty="0"/>
            <a:t>AM</a:t>
          </a:r>
        </a:p>
      </dgm:t>
    </dgm:pt>
    <dgm:pt modelId="{5AEE061D-CC34-4702-88BF-D799BDAF029A}" type="parTrans" cxnId="{CC6DE396-D3BA-4EDE-AE22-C1D6ACC886B5}">
      <dgm:prSet/>
      <dgm:spPr/>
      <dgm:t>
        <a:bodyPr/>
        <a:lstStyle/>
        <a:p>
          <a:endParaRPr lang="fr-FR"/>
        </a:p>
      </dgm:t>
    </dgm:pt>
    <dgm:pt modelId="{E6FF0732-DDF0-410D-A45E-6386845BBA7B}" type="sibTrans" cxnId="{CC6DE396-D3BA-4EDE-AE22-C1D6ACC886B5}">
      <dgm:prSet/>
      <dgm:spPr/>
      <dgm:t>
        <a:bodyPr/>
        <a:lstStyle/>
        <a:p>
          <a:endParaRPr lang="fr-FR"/>
        </a:p>
      </dgm:t>
    </dgm:pt>
    <dgm:pt modelId="{DE160B99-4D51-4B35-AE1E-BC081FD59A1F}">
      <dgm:prSet phldrT="[Texte]" custT="1"/>
      <dgm:spPr>
        <a:solidFill>
          <a:schemeClr val="bg2"/>
        </a:solidFill>
      </dgm:spPr>
      <dgm:t>
        <a:bodyPr/>
        <a:lstStyle/>
        <a:p>
          <a:pPr>
            <a:buNone/>
          </a:pPr>
          <a:r>
            <a:rPr lang="fr-FR" sz="2000" dirty="0"/>
            <a:t>Maquette papier</a:t>
          </a:r>
        </a:p>
      </dgm:t>
    </dgm:pt>
    <dgm:pt modelId="{826A75B5-C3F5-49AD-9E59-7277171B8FD8}" type="parTrans" cxnId="{D1D64F5B-99E8-4F5F-85BE-C5AB09BDE2B4}">
      <dgm:prSet/>
      <dgm:spPr/>
      <dgm:t>
        <a:bodyPr/>
        <a:lstStyle/>
        <a:p>
          <a:endParaRPr lang="fr-FR"/>
        </a:p>
      </dgm:t>
    </dgm:pt>
    <dgm:pt modelId="{BA081B2F-A5A7-43BB-9953-266BB5AC92BB}" type="sibTrans" cxnId="{D1D64F5B-99E8-4F5F-85BE-C5AB09BDE2B4}">
      <dgm:prSet/>
      <dgm:spPr/>
      <dgm:t>
        <a:bodyPr/>
        <a:lstStyle/>
        <a:p>
          <a:endParaRPr lang="fr-FR"/>
        </a:p>
      </dgm:t>
    </dgm:pt>
    <dgm:pt modelId="{AB88D617-051F-45A2-82C4-F6CF760FCF7F}" type="pres">
      <dgm:prSet presAssocID="{54645EFC-6F8A-4D03-A8FD-609D821996C8}" presName="linearFlow" presStyleCnt="0">
        <dgm:presLayoutVars>
          <dgm:dir/>
          <dgm:animLvl val="lvl"/>
          <dgm:resizeHandles val="exact"/>
        </dgm:presLayoutVars>
      </dgm:prSet>
      <dgm:spPr/>
    </dgm:pt>
    <dgm:pt modelId="{3546B967-8C61-4241-893D-14976DE7E895}" type="pres">
      <dgm:prSet presAssocID="{79E5C636-41E5-44C3-8DCA-6A93A83CF828}" presName="composite" presStyleCnt="0"/>
      <dgm:spPr/>
    </dgm:pt>
    <dgm:pt modelId="{323E2471-A156-4DC9-8851-05AC2637DF66}" type="pres">
      <dgm:prSet presAssocID="{79E5C636-41E5-44C3-8DCA-6A93A83CF828}" presName="parentText" presStyleLbl="alignNode1" presStyleIdx="0" presStyleCnt="1">
        <dgm:presLayoutVars>
          <dgm:chMax val="1"/>
          <dgm:bulletEnabled val="1"/>
        </dgm:presLayoutVars>
      </dgm:prSet>
      <dgm:spPr/>
    </dgm:pt>
    <dgm:pt modelId="{9A42A1D2-65BE-4750-A8EF-A90E13BD4DF5}" type="pres">
      <dgm:prSet presAssocID="{79E5C636-41E5-44C3-8DCA-6A93A83CF828}" presName="descendantText" presStyleLbl="alignAcc1" presStyleIdx="0" presStyleCnt="1" custScaleY="100000" custLinFactNeighborY="0">
        <dgm:presLayoutVars>
          <dgm:bulletEnabled val="1"/>
        </dgm:presLayoutVars>
      </dgm:prSet>
      <dgm:spPr/>
    </dgm:pt>
  </dgm:ptLst>
  <dgm:cxnLst>
    <dgm:cxn modelId="{A785972D-FDEA-4D9A-91F3-9F6C43A65880}" type="presOf" srcId="{79E5C636-41E5-44C3-8DCA-6A93A83CF828}" destId="{323E2471-A156-4DC9-8851-05AC2637DF66}" srcOrd="0" destOrd="0" presId="urn:microsoft.com/office/officeart/2005/8/layout/chevron2"/>
    <dgm:cxn modelId="{D1D64F5B-99E8-4F5F-85BE-C5AB09BDE2B4}" srcId="{79E5C636-41E5-44C3-8DCA-6A93A83CF828}" destId="{DE160B99-4D51-4B35-AE1E-BC081FD59A1F}" srcOrd="0" destOrd="0" parTransId="{826A75B5-C3F5-49AD-9E59-7277171B8FD8}" sibTransId="{BA081B2F-A5A7-43BB-9953-266BB5AC92BB}"/>
    <dgm:cxn modelId="{CC6DE396-D3BA-4EDE-AE22-C1D6ACC886B5}" srcId="{54645EFC-6F8A-4D03-A8FD-609D821996C8}" destId="{79E5C636-41E5-44C3-8DCA-6A93A83CF828}" srcOrd="0" destOrd="0" parTransId="{5AEE061D-CC34-4702-88BF-D799BDAF029A}" sibTransId="{E6FF0732-DDF0-410D-A45E-6386845BBA7B}"/>
    <dgm:cxn modelId="{5CA8B9B1-8CFB-42CC-A01E-AB41172EEBE4}" type="presOf" srcId="{DE160B99-4D51-4B35-AE1E-BC081FD59A1F}" destId="{9A42A1D2-65BE-4750-A8EF-A90E13BD4DF5}" srcOrd="0" destOrd="0" presId="urn:microsoft.com/office/officeart/2005/8/layout/chevron2"/>
    <dgm:cxn modelId="{36836EEF-806B-48C5-B710-B4A0A5B90EE7}" type="presOf" srcId="{54645EFC-6F8A-4D03-A8FD-609D821996C8}" destId="{AB88D617-051F-45A2-82C4-F6CF760FCF7F}" srcOrd="0" destOrd="0" presId="urn:microsoft.com/office/officeart/2005/8/layout/chevron2"/>
    <dgm:cxn modelId="{8CD8DB9D-6D81-41F0-AEE0-07356B736914}" type="presParOf" srcId="{AB88D617-051F-45A2-82C4-F6CF760FCF7F}" destId="{3546B967-8C61-4241-893D-14976DE7E895}" srcOrd="0" destOrd="0" presId="urn:microsoft.com/office/officeart/2005/8/layout/chevron2"/>
    <dgm:cxn modelId="{18410905-0696-42E8-B1D5-E3B9573D2EA3}" type="presParOf" srcId="{3546B967-8C61-4241-893D-14976DE7E895}" destId="{323E2471-A156-4DC9-8851-05AC2637DF66}" srcOrd="0" destOrd="0" presId="urn:microsoft.com/office/officeart/2005/8/layout/chevron2"/>
    <dgm:cxn modelId="{83D477CD-0682-4781-B343-347EC0057626}" type="presParOf" srcId="{3546B967-8C61-4241-893D-14976DE7E895}" destId="{9A42A1D2-65BE-4750-A8EF-A90E13BD4DF5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E24960B4-38DA-4BA1-BC73-F97FB3000306}" type="doc">
      <dgm:prSet loTypeId="urn:microsoft.com/office/officeart/2005/8/layout/chart3" loCatId="relationship" qsTypeId="urn:microsoft.com/office/officeart/2005/8/quickstyle/simple1" qsCatId="simple" csTypeId="urn:microsoft.com/office/officeart/2005/8/colors/accent1_2" csCatId="accent1" phldr="1"/>
      <dgm:spPr/>
    </dgm:pt>
    <dgm:pt modelId="{2BB99742-305D-4786-845C-862223F2020B}">
      <dgm:prSet phldrT="[Texte]"/>
      <dgm:spPr>
        <a:noFill/>
        <a:ln w="57150">
          <a:solidFill>
            <a:srgbClr val="F68D42">
              <a:alpha val="50196"/>
            </a:srgbClr>
          </a:solidFill>
        </a:ln>
      </dgm:spPr>
      <dgm:t>
        <a:bodyPr/>
        <a:lstStyle/>
        <a:p>
          <a:r>
            <a:rPr lang="fr-FR" dirty="0">
              <a:solidFill>
                <a:schemeClr val="accent1"/>
              </a:solidFill>
            </a:rPr>
            <a:t>Drôle</a:t>
          </a:r>
        </a:p>
      </dgm:t>
    </dgm:pt>
    <dgm:pt modelId="{6DDC3CBE-44A9-445F-B613-D30CCA89E9EF}" type="parTrans" cxnId="{7B8A636B-F42F-4FDE-BE14-8EDF597A333B}">
      <dgm:prSet/>
      <dgm:spPr/>
      <dgm:t>
        <a:bodyPr/>
        <a:lstStyle/>
        <a:p>
          <a:endParaRPr lang="fr-FR"/>
        </a:p>
      </dgm:t>
    </dgm:pt>
    <dgm:pt modelId="{8B350202-922D-4DA3-8E01-DFBF82B0AEC2}" type="sibTrans" cxnId="{7B8A636B-F42F-4FDE-BE14-8EDF597A333B}">
      <dgm:prSet/>
      <dgm:spPr/>
      <dgm:t>
        <a:bodyPr/>
        <a:lstStyle/>
        <a:p>
          <a:endParaRPr lang="fr-FR"/>
        </a:p>
      </dgm:t>
    </dgm:pt>
    <dgm:pt modelId="{6EDF8826-62B2-4558-9A30-1FA6D93A514B}">
      <dgm:prSet phldrT="[Texte]"/>
      <dgm:spPr>
        <a:noFill/>
        <a:ln w="57150">
          <a:solidFill>
            <a:schemeClr val="accent1"/>
          </a:solidFill>
        </a:ln>
      </dgm:spPr>
      <dgm:t>
        <a:bodyPr/>
        <a:lstStyle/>
        <a:p>
          <a:r>
            <a:rPr lang="fr-FR" dirty="0">
              <a:solidFill>
                <a:schemeClr val="accent1"/>
              </a:solidFill>
            </a:rPr>
            <a:t>1 niveau</a:t>
          </a:r>
        </a:p>
      </dgm:t>
    </dgm:pt>
    <dgm:pt modelId="{AEA39FB6-7956-4714-8A8E-A81595131B2B}" type="parTrans" cxnId="{92ACBF6E-86FC-4CCE-8E70-5A0E3B475B34}">
      <dgm:prSet/>
      <dgm:spPr/>
      <dgm:t>
        <a:bodyPr/>
        <a:lstStyle/>
        <a:p>
          <a:endParaRPr lang="fr-FR"/>
        </a:p>
      </dgm:t>
    </dgm:pt>
    <dgm:pt modelId="{84BA149D-FE84-445D-9FC6-5B3A204A88AB}" type="sibTrans" cxnId="{92ACBF6E-86FC-4CCE-8E70-5A0E3B475B34}">
      <dgm:prSet/>
      <dgm:spPr/>
      <dgm:t>
        <a:bodyPr/>
        <a:lstStyle/>
        <a:p>
          <a:endParaRPr lang="fr-FR"/>
        </a:p>
      </dgm:t>
    </dgm:pt>
    <dgm:pt modelId="{3EC8046A-E0D8-4588-A18A-97633A2CEE0C}">
      <dgm:prSet phldrT="[Texte]"/>
      <dgm:spPr>
        <a:noFill/>
        <a:ln w="57150">
          <a:solidFill>
            <a:schemeClr val="accent1"/>
          </a:solidFill>
        </a:ln>
      </dgm:spPr>
      <dgm:t>
        <a:bodyPr/>
        <a:lstStyle/>
        <a:p>
          <a:r>
            <a:rPr lang="fr-FR" dirty="0">
              <a:solidFill>
                <a:schemeClr val="accent1"/>
              </a:solidFill>
            </a:rPr>
            <a:t>Version physique</a:t>
          </a:r>
        </a:p>
      </dgm:t>
    </dgm:pt>
    <dgm:pt modelId="{4BD3E1A3-4FAD-4295-A200-9EFFF8A4C6AD}" type="parTrans" cxnId="{5B51C5C3-CCEE-44F1-B28B-3DA9D383A41D}">
      <dgm:prSet/>
      <dgm:spPr/>
      <dgm:t>
        <a:bodyPr/>
        <a:lstStyle/>
        <a:p>
          <a:endParaRPr lang="fr-FR"/>
        </a:p>
      </dgm:t>
    </dgm:pt>
    <dgm:pt modelId="{9E512F71-DD13-4394-B3DE-48FA9DB567F4}" type="sibTrans" cxnId="{5B51C5C3-CCEE-44F1-B28B-3DA9D383A41D}">
      <dgm:prSet/>
      <dgm:spPr/>
      <dgm:t>
        <a:bodyPr/>
        <a:lstStyle/>
        <a:p>
          <a:endParaRPr lang="fr-FR"/>
        </a:p>
      </dgm:t>
    </dgm:pt>
    <dgm:pt modelId="{7CD5328D-760D-4749-A094-D87EA6597CD6}">
      <dgm:prSet phldrT="[Texte]"/>
      <dgm:spPr>
        <a:noFill/>
        <a:ln w="57150">
          <a:solidFill>
            <a:schemeClr val="accent1"/>
          </a:solidFill>
        </a:ln>
      </dgm:spPr>
      <dgm:t>
        <a:bodyPr/>
        <a:lstStyle/>
        <a:p>
          <a:r>
            <a:rPr lang="fr-FR" dirty="0">
              <a:solidFill>
                <a:schemeClr val="accent1"/>
              </a:solidFill>
            </a:rPr>
            <a:t>Fun</a:t>
          </a:r>
        </a:p>
      </dgm:t>
    </dgm:pt>
    <dgm:pt modelId="{7FC07090-F841-4C59-9A98-AE66560949D5}" type="parTrans" cxnId="{0401B172-7F4D-4385-8FBB-968963CF82C2}">
      <dgm:prSet/>
      <dgm:spPr/>
      <dgm:t>
        <a:bodyPr/>
        <a:lstStyle/>
        <a:p>
          <a:endParaRPr lang="fr-FR"/>
        </a:p>
      </dgm:t>
    </dgm:pt>
    <dgm:pt modelId="{DB2BEF3B-E98F-449A-B02A-5AE24B186F73}" type="sibTrans" cxnId="{0401B172-7F4D-4385-8FBB-968963CF82C2}">
      <dgm:prSet/>
      <dgm:spPr/>
      <dgm:t>
        <a:bodyPr/>
        <a:lstStyle/>
        <a:p>
          <a:endParaRPr lang="fr-FR"/>
        </a:p>
      </dgm:t>
    </dgm:pt>
    <dgm:pt modelId="{E891DB22-1A69-43D3-8167-A30D1961B045}">
      <dgm:prSet phldrT="[Texte]"/>
      <dgm:spPr>
        <a:noFill/>
        <a:ln w="57150">
          <a:solidFill>
            <a:schemeClr val="accent1"/>
          </a:solidFill>
        </a:ln>
      </dgm:spPr>
      <dgm:t>
        <a:bodyPr/>
        <a:lstStyle/>
        <a:p>
          <a:r>
            <a:rPr lang="fr-FR" dirty="0">
              <a:solidFill>
                <a:schemeClr val="accent1"/>
              </a:solidFill>
            </a:rPr>
            <a:t>1 input</a:t>
          </a:r>
        </a:p>
      </dgm:t>
    </dgm:pt>
    <dgm:pt modelId="{6923A5C4-79F9-405D-83A0-432CB573D92B}" type="parTrans" cxnId="{0B22B063-8CB4-4714-9223-9F428140CCB8}">
      <dgm:prSet/>
      <dgm:spPr/>
      <dgm:t>
        <a:bodyPr/>
        <a:lstStyle/>
        <a:p>
          <a:endParaRPr lang="fr-FR"/>
        </a:p>
      </dgm:t>
    </dgm:pt>
    <dgm:pt modelId="{F8FBA685-0F27-4A07-A3FD-0D0CBC4ED7FF}" type="sibTrans" cxnId="{0B22B063-8CB4-4714-9223-9F428140CCB8}">
      <dgm:prSet/>
      <dgm:spPr/>
      <dgm:t>
        <a:bodyPr/>
        <a:lstStyle/>
        <a:p>
          <a:endParaRPr lang="fr-FR"/>
        </a:p>
      </dgm:t>
    </dgm:pt>
    <dgm:pt modelId="{F0E891A8-CABB-4B7E-949B-889B8900711E}" type="pres">
      <dgm:prSet presAssocID="{E24960B4-38DA-4BA1-BC73-F97FB3000306}" presName="compositeShape" presStyleCnt="0">
        <dgm:presLayoutVars>
          <dgm:chMax val="7"/>
          <dgm:dir/>
          <dgm:resizeHandles val="exact"/>
        </dgm:presLayoutVars>
      </dgm:prSet>
      <dgm:spPr/>
    </dgm:pt>
    <dgm:pt modelId="{3E244D60-F7E9-415A-B58D-525A5EF3AB4D}" type="pres">
      <dgm:prSet presAssocID="{E24960B4-38DA-4BA1-BC73-F97FB3000306}" presName="wedge1" presStyleLbl="node1" presStyleIdx="0" presStyleCnt="5"/>
      <dgm:spPr/>
    </dgm:pt>
    <dgm:pt modelId="{9A925198-A257-4EDC-A123-1E7F2F6ECFBA}" type="pres">
      <dgm:prSet presAssocID="{E24960B4-38DA-4BA1-BC73-F97FB3000306}" presName="wedge1Tx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5E8E8593-D22D-4A86-AEC5-6F821B22E90F}" type="pres">
      <dgm:prSet presAssocID="{E24960B4-38DA-4BA1-BC73-F97FB3000306}" presName="wedge2" presStyleLbl="node1" presStyleIdx="1" presStyleCnt="5"/>
      <dgm:spPr/>
    </dgm:pt>
    <dgm:pt modelId="{BDFED687-F791-48E2-ACCD-F2996932EA79}" type="pres">
      <dgm:prSet presAssocID="{E24960B4-38DA-4BA1-BC73-F97FB3000306}" presName="wedge2Tx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4ED27B6F-51B1-4C01-B85D-E0E1FE189D85}" type="pres">
      <dgm:prSet presAssocID="{E24960B4-38DA-4BA1-BC73-F97FB3000306}" presName="wedge3" presStyleLbl="node1" presStyleIdx="2" presStyleCnt="5"/>
      <dgm:spPr/>
    </dgm:pt>
    <dgm:pt modelId="{35974407-9444-4169-889E-9E11454423A5}" type="pres">
      <dgm:prSet presAssocID="{E24960B4-38DA-4BA1-BC73-F97FB3000306}" presName="wedge3Tx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7C2D80E4-7993-44C4-B459-04C720A675FE}" type="pres">
      <dgm:prSet presAssocID="{E24960B4-38DA-4BA1-BC73-F97FB3000306}" presName="wedge4" presStyleLbl="node1" presStyleIdx="3" presStyleCnt="5"/>
      <dgm:spPr/>
    </dgm:pt>
    <dgm:pt modelId="{0C1F1084-FB30-43C8-9D24-15644ED5EC30}" type="pres">
      <dgm:prSet presAssocID="{E24960B4-38DA-4BA1-BC73-F97FB3000306}" presName="wedge4Tx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3C6FEE32-4E2E-4732-8F80-5CB19688936D}" type="pres">
      <dgm:prSet presAssocID="{E24960B4-38DA-4BA1-BC73-F97FB3000306}" presName="wedge5" presStyleLbl="node1" presStyleIdx="4" presStyleCnt="5"/>
      <dgm:spPr/>
    </dgm:pt>
    <dgm:pt modelId="{AC117CC5-A39D-4009-8DC2-2CC2E668A031}" type="pres">
      <dgm:prSet presAssocID="{E24960B4-38DA-4BA1-BC73-F97FB3000306}" presName="wedge5Tx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A73B0902-09D9-47CA-BF78-26CEF4EDEFF1}" type="presOf" srcId="{3EC8046A-E0D8-4588-A18A-97633A2CEE0C}" destId="{BDFED687-F791-48E2-ACCD-F2996932EA79}" srcOrd="1" destOrd="0" presId="urn:microsoft.com/office/officeart/2005/8/layout/chart3"/>
    <dgm:cxn modelId="{90B3B203-600D-4973-A346-0CDF89BCE72B}" type="presOf" srcId="{2BB99742-305D-4786-845C-862223F2020B}" destId="{3E244D60-F7E9-415A-B58D-525A5EF3AB4D}" srcOrd="0" destOrd="0" presId="urn:microsoft.com/office/officeart/2005/8/layout/chart3"/>
    <dgm:cxn modelId="{59D84407-9194-4659-9DDB-8F5DFFFFA7CA}" type="presOf" srcId="{6EDF8826-62B2-4558-9A30-1FA6D93A514B}" destId="{35974407-9444-4169-889E-9E11454423A5}" srcOrd="1" destOrd="0" presId="urn:microsoft.com/office/officeart/2005/8/layout/chart3"/>
    <dgm:cxn modelId="{5BC8B21D-13EE-4F5F-9BC5-897F5831AF6E}" type="presOf" srcId="{6EDF8826-62B2-4558-9A30-1FA6D93A514B}" destId="{4ED27B6F-51B1-4C01-B85D-E0E1FE189D85}" srcOrd="0" destOrd="0" presId="urn:microsoft.com/office/officeart/2005/8/layout/chart3"/>
    <dgm:cxn modelId="{0B22B063-8CB4-4714-9223-9F428140CCB8}" srcId="{E24960B4-38DA-4BA1-BC73-F97FB3000306}" destId="{E891DB22-1A69-43D3-8167-A30D1961B045}" srcOrd="3" destOrd="0" parTransId="{6923A5C4-79F9-405D-83A0-432CB573D92B}" sibTransId="{F8FBA685-0F27-4A07-A3FD-0D0CBC4ED7FF}"/>
    <dgm:cxn modelId="{7B8A636B-F42F-4FDE-BE14-8EDF597A333B}" srcId="{E24960B4-38DA-4BA1-BC73-F97FB3000306}" destId="{2BB99742-305D-4786-845C-862223F2020B}" srcOrd="0" destOrd="0" parTransId="{6DDC3CBE-44A9-445F-B613-D30CCA89E9EF}" sibTransId="{8B350202-922D-4DA3-8E01-DFBF82B0AEC2}"/>
    <dgm:cxn modelId="{92ACBF6E-86FC-4CCE-8E70-5A0E3B475B34}" srcId="{E24960B4-38DA-4BA1-BC73-F97FB3000306}" destId="{6EDF8826-62B2-4558-9A30-1FA6D93A514B}" srcOrd="2" destOrd="0" parTransId="{AEA39FB6-7956-4714-8A8E-A81595131B2B}" sibTransId="{84BA149D-FE84-445D-9FC6-5B3A204A88AB}"/>
    <dgm:cxn modelId="{D9896751-BFC0-4565-A930-EBCB1EE26FE1}" type="presOf" srcId="{7CD5328D-760D-4749-A094-D87EA6597CD6}" destId="{3C6FEE32-4E2E-4732-8F80-5CB19688936D}" srcOrd="0" destOrd="0" presId="urn:microsoft.com/office/officeart/2005/8/layout/chart3"/>
    <dgm:cxn modelId="{0401B172-7F4D-4385-8FBB-968963CF82C2}" srcId="{E24960B4-38DA-4BA1-BC73-F97FB3000306}" destId="{7CD5328D-760D-4749-A094-D87EA6597CD6}" srcOrd="4" destOrd="0" parTransId="{7FC07090-F841-4C59-9A98-AE66560949D5}" sibTransId="{DB2BEF3B-E98F-449A-B02A-5AE24B186F73}"/>
    <dgm:cxn modelId="{4596CA88-2FED-42D1-935C-6C84A5D605EA}" type="presOf" srcId="{E891DB22-1A69-43D3-8167-A30D1961B045}" destId="{7C2D80E4-7993-44C4-B459-04C720A675FE}" srcOrd="0" destOrd="0" presId="urn:microsoft.com/office/officeart/2005/8/layout/chart3"/>
    <dgm:cxn modelId="{5408069D-37F3-41A1-957E-02154AB10733}" type="presOf" srcId="{3EC8046A-E0D8-4588-A18A-97633A2CEE0C}" destId="{5E8E8593-D22D-4A86-AEC5-6F821B22E90F}" srcOrd="0" destOrd="0" presId="urn:microsoft.com/office/officeart/2005/8/layout/chart3"/>
    <dgm:cxn modelId="{2B5354A2-E935-4859-AA2C-88181EE06B40}" type="presOf" srcId="{E24960B4-38DA-4BA1-BC73-F97FB3000306}" destId="{F0E891A8-CABB-4B7E-949B-889B8900711E}" srcOrd="0" destOrd="0" presId="urn:microsoft.com/office/officeart/2005/8/layout/chart3"/>
    <dgm:cxn modelId="{E84DA5BC-3012-4B47-A992-ACD1C0D5D681}" type="presOf" srcId="{E891DB22-1A69-43D3-8167-A30D1961B045}" destId="{0C1F1084-FB30-43C8-9D24-15644ED5EC30}" srcOrd="1" destOrd="0" presId="urn:microsoft.com/office/officeart/2005/8/layout/chart3"/>
    <dgm:cxn modelId="{F2D4B6BE-9FA3-4017-BFB1-FFC67B58203B}" type="presOf" srcId="{2BB99742-305D-4786-845C-862223F2020B}" destId="{9A925198-A257-4EDC-A123-1E7F2F6ECFBA}" srcOrd="1" destOrd="0" presId="urn:microsoft.com/office/officeart/2005/8/layout/chart3"/>
    <dgm:cxn modelId="{5B51C5C3-CCEE-44F1-B28B-3DA9D383A41D}" srcId="{E24960B4-38DA-4BA1-BC73-F97FB3000306}" destId="{3EC8046A-E0D8-4588-A18A-97633A2CEE0C}" srcOrd="1" destOrd="0" parTransId="{4BD3E1A3-4FAD-4295-A200-9EFFF8A4C6AD}" sibTransId="{9E512F71-DD13-4394-B3DE-48FA9DB567F4}"/>
    <dgm:cxn modelId="{CB4FBCD7-3FE5-4BD2-80E6-9FF540BB2181}" type="presOf" srcId="{7CD5328D-760D-4749-A094-D87EA6597CD6}" destId="{AC117CC5-A39D-4009-8DC2-2CC2E668A031}" srcOrd="1" destOrd="0" presId="urn:microsoft.com/office/officeart/2005/8/layout/chart3"/>
    <dgm:cxn modelId="{31867709-9563-425A-AB62-D2921EE07D97}" type="presParOf" srcId="{F0E891A8-CABB-4B7E-949B-889B8900711E}" destId="{3E244D60-F7E9-415A-B58D-525A5EF3AB4D}" srcOrd="0" destOrd="0" presId="urn:microsoft.com/office/officeart/2005/8/layout/chart3"/>
    <dgm:cxn modelId="{F40C0CA6-A21C-40F2-8D57-27166B2D3DA9}" type="presParOf" srcId="{F0E891A8-CABB-4B7E-949B-889B8900711E}" destId="{9A925198-A257-4EDC-A123-1E7F2F6ECFBA}" srcOrd="1" destOrd="0" presId="urn:microsoft.com/office/officeart/2005/8/layout/chart3"/>
    <dgm:cxn modelId="{598642E0-81AD-4EF9-97F9-5488148B3ABA}" type="presParOf" srcId="{F0E891A8-CABB-4B7E-949B-889B8900711E}" destId="{5E8E8593-D22D-4A86-AEC5-6F821B22E90F}" srcOrd="2" destOrd="0" presId="urn:microsoft.com/office/officeart/2005/8/layout/chart3"/>
    <dgm:cxn modelId="{CFA4C213-B3C7-4810-B845-273CFAB898C8}" type="presParOf" srcId="{F0E891A8-CABB-4B7E-949B-889B8900711E}" destId="{BDFED687-F791-48E2-ACCD-F2996932EA79}" srcOrd="3" destOrd="0" presId="urn:microsoft.com/office/officeart/2005/8/layout/chart3"/>
    <dgm:cxn modelId="{64C650DD-66A2-47D0-A7B2-D48EA599993D}" type="presParOf" srcId="{F0E891A8-CABB-4B7E-949B-889B8900711E}" destId="{4ED27B6F-51B1-4C01-B85D-E0E1FE189D85}" srcOrd="4" destOrd="0" presId="urn:microsoft.com/office/officeart/2005/8/layout/chart3"/>
    <dgm:cxn modelId="{19FC9D8C-BB35-45D2-8096-637437D511A4}" type="presParOf" srcId="{F0E891A8-CABB-4B7E-949B-889B8900711E}" destId="{35974407-9444-4169-889E-9E11454423A5}" srcOrd="5" destOrd="0" presId="urn:microsoft.com/office/officeart/2005/8/layout/chart3"/>
    <dgm:cxn modelId="{EFD45280-C231-4894-B30B-214F8BC53439}" type="presParOf" srcId="{F0E891A8-CABB-4B7E-949B-889B8900711E}" destId="{7C2D80E4-7993-44C4-B459-04C720A675FE}" srcOrd="6" destOrd="0" presId="urn:microsoft.com/office/officeart/2005/8/layout/chart3"/>
    <dgm:cxn modelId="{244196F6-D539-41D3-A22C-A80256B3232F}" type="presParOf" srcId="{F0E891A8-CABB-4B7E-949B-889B8900711E}" destId="{0C1F1084-FB30-43C8-9D24-15644ED5EC30}" srcOrd="7" destOrd="0" presId="urn:microsoft.com/office/officeart/2005/8/layout/chart3"/>
    <dgm:cxn modelId="{CAFAE487-B427-4D29-B875-E9FB98D4A8BF}" type="presParOf" srcId="{F0E891A8-CABB-4B7E-949B-889B8900711E}" destId="{3C6FEE32-4E2E-4732-8F80-5CB19688936D}" srcOrd="8" destOrd="0" presId="urn:microsoft.com/office/officeart/2005/8/layout/chart3"/>
    <dgm:cxn modelId="{572E1C3E-163D-4FD5-99E0-1770E30282C4}" type="presParOf" srcId="{F0E891A8-CABB-4B7E-949B-889B8900711E}" destId="{AC117CC5-A39D-4009-8DC2-2CC2E668A031}" srcOrd="9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4645EFC-6F8A-4D03-A8FD-609D821996C8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9E5C636-41E5-44C3-8DCA-6A93A83CF828}">
      <dgm:prSet phldrT="[Texte]" custT="1"/>
      <dgm:spPr/>
      <dgm:t>
        <a:bodyPr/>
        <a:lstStyle/>
        <a:p>
          <a:br>
            <a:rPr lang="fr-FR" sz="1000" dirty="0"/>
          </a:br>
          <a:r>
            <a:rPr lang="fr-FR" sz="2400" dirty="0"/>
            <a:t>04/10</a:t>
          </a:r>
          <a:br>
            <a:rPr lang="fr-FR" sz="2000" dirty="0"/>
          </a:br>
          <a:r>
            <a:rPr lang="fr-FR" sz="1400" dirty="0"/>
            <a:t>PM</a:t>
          </a:r>
        </a:p>
      </dgm:t>
    </dgm:pt>
    <dgm:pt modelId="{5AEE061D-CC34-4702-88BF-D799BDAF029A}" type="parTrans" cxnId="{CC6DE396-D3BA-4EDE-AE22-C1D6ACC886B5}">
      <dgm:prSet/>
      <dgm:spPr/>
      <dgm:t>
        <a:bodyPr/>
        <a:lstStyle/>
        <a:p>
          <a:endParaRPr lang="fr-FR"/>
        </a:p>
      </dgm:t>
    </dgm:pt>
    <dgm:pt modelId="{E6FF0732-DDF0-410D-A45E-6386845BBA7B}" type="sibTrans" cxnId="{CC6DE396-D3BA-4EDE-AE22-C1D6ACC886B5}">
      <dgm:prSet/>
      <dgm:spPr/>
      <dgm:t>
        <a:bodyPr/>
        <a:lstStyle/>
        <a:p>
          <a:endParaRPr lang="fr-FR"/>
        </a:p>
      </dgm:t>
    </dgm:pt>
    <dgm:pt modelId="{DE160B99-4D51-4B35-AE1E-BC081FD59A1F}">
      <dgm:prSet phldrT="[Texte]" custT="1"/>
      <dgm:spPr>
        <a:solidFill>
          <a:schemeClr val="bg2"/>
        </a:solidFill>
      </dgm:spPr>
      <dgm:t>
        <a:bodyPr/>
        <a:lstStyle/>
        <a:p>
          <a:pPr>
            <a:buNone/>
          </a:pPr>
          <a:r>
            <a:rPr lang="fr-FR" sz="2000" dirty="0"/>
            <a:t>Jeu vidéo</a:t>
          </a:r>
        </a:p>
      </dgm:t>
    </dgm:pt>
    <dgm:pt modelId="{826A75B5-C3F5-49AD-9E59-7277171B8FD8}" type="parTrans" cxnId="{D1D64F5B-99E8-4F5F-85BE-C5AB09BDE2B4}">
      <dgm:prSet/>
      <dgm:spPr/>
      <dgm:t>
        <a:bodyPr/>
        <a:lstStyle/>
        <a:p>
          <a:endParaRPr lang="fr-FR"/>
        </a:p>
      </dgm:t>
    </dgm:pt>
    <dgm:pt modelId="{BA081B2F-A5A7-43BB-9953-266BB5AC92BB}" type="sibTrans" cxnId="{D1D64F5B-99E8-4F5F-85BE-C5AB09BDE2B4}">
      <dgm:prSet/>
      <dgm:spPr/>
      <dgm:t>
        <a:bodyPr/>
        <a:lstStyle/>
        <a:p>
          <a:endParaRPr lang="fr-FR"/>
        </a:p>
      </dgm:t>
    </dgm:pt>
    <dgm:pt modelId="{AB88D617-051F-45A2-82C4-F6CF760FCF7F}" type="pres">
      <dgm:prSet presAssocID="{54645EFC-6F8A-4D03-A8FD-609D821996C8}" presName="linearFlow" presStyleCnt="0">
        <dgm:presLayoutVars>
          <dgm:dir/>
          <dgm:animLvl val="lvl"/>
          <dgm:resizeHandles val="exact"/>
        </dgm:presLayoutVars>
      </dgm:prSet>
      <dgm:spPr/>
    </dgm:pt>
    <dgm:pt modelId="{3546B967-8C61-4241-893D-14976DE7E895}" type="pres">
      <dgm:prSet presAssocID="{79E5C636-41E5-44C3-8DCA-6A93A83CF828}" presName="composite" presStyleCnt="0"/>
      <dgm:spPr/>
    </dgm:pt>
    <dgm:pt modelId="{323E2471-A156-4DC9-8851-05AC2637DF66}" type="pres">
      <dgm:prSet presAssocID="{79E5C636-41E5-44C3-8DCA-6A93A83CF828}" presName="parentText" presStyleLbl="alignNode1" presStyleIdx="0" presStyleCnt="1">
        <dgm:presLayoutVars>
          <dgm:chMax val="1"/>
          <dgm:bulletEnabled val="1"/>
        </dgm:presLayoutVars>
      </dgm:prSet>
      <dgm:spPr/>
    </dgm:pt>
    <dgm:pt modelId="{9A42A1D2-65BE-4750-A8EF-A90E13BD4DF5}" type="pres">
      <dgm:prSet presAssocID="{79E5C636-41E5-44C3-8DCA-6A93A83CF828}" presName="descendantText" presStyleLbl="alignAcc1" presStyleIdx="0" presStyleCnt="1" custScaleY="100000" custLinFactNeighborY="0">
        <dgm:presLayoutVars>
          <dgm:bulletEnabled val="1"/>
        </dgm:presLayoutVars>
      </dgm:prSet>
      <dgm:spPr/>
    </dgm:pt>
  </dgm:ptLst>
  <dgm:cxnLst>
    <dgm:cxn modelId="{A785972D-FDEA-4D9A-91F3-9F6C43A65880}" type="presOf" srcId="{79E5C636-41E5-44C3-8DCA-6A93A83CF828}" destId="{323E2471-A156-4DC9-8851-05AC2637DF66}" srcOrd="0" destOrd="0" presId="urn:microsoft.com/office/officeart/2005/8/layout/chevron2"/>
    <dgm:cxn modelId="{D1D64F5B-99E8-4F5F-85BE-C5AB09BDE2B4}" srcId="{79E5C636-41E5-44C3-8DCA-6A93A83CF828}" destId="{DE160B99-4D51-4B35-AE1E-BC081FD59A1F}" srcOrd="0" destOrd="0" parTransId="{826A75B5-C3F5-49AD-9E59-7277171B8FD8}" sibTransId="{BA081B2F-A5A7-43BB-9953-266BB5AC92BB}"/>
    <dgm:cxn modelId="{CC6DE396-D3BA-4EDE-AE22-C1D6ACC886B5}" srcId="{54645EFC-6F8A-4D03-A8FD-609D821996C8}" destId="{79E5C636-41E5-44C3-8DCA-6A93A83CF828}" srcOrd="0" destOrd="0" parTransId="{5AEE061D-CC34-4702-88BF-D799BDAF029A}" sibTransId="{E6FF0732-DDF0-410D-A45E-6386845BBA7B}"/>
    <dgm:cxn modelId="{5CA8B9B1-8CFB-42CC-A01E-AB41172EEBE4}" type="presOf" srcId="{DE160B99-4D51-4B35-AE1E-BC081FD59A1F}" destId="{9A42A1D2-65BE-4750-A8EF-A90E13BD4DF5}" srcOrd="0" destOrd="0" presId="urn:microsoft.com/office/officeart/2005/8/layout/chevron2"/>
    <dgm:cxn modelId="{36836EEF-806B-48C5-B710-B4A0A5B90EE7}" type="presOf" srcId="{54645EFC-6F8A-4D03-A8FD-609D821996C8}" destId="{AB88D617-051F-45A2-82C4-F6CF760FCF7F}" srcOrd="0" destOrd="0" presId="urn:microsoft.com/office/officeart/2005/8/layout/chevron2"/>
    <dgm:cxn modelId="{8CD8DB9D-6D81-41F0-AEE0-07356B736914}" type="presParOf" srcId="{AB88D617-051F-45A2-82C4-F6CF760FCF7F}" destId="{3546B967-8C61-4241-893D-14976DE7E895}" srcOrd="0" destOrd="0" presId="urn:microsoft.com/office/officeart/2005/8/layout/chevron2"/>
    <dgm:cxn modelId="{18410905-0696-42E8-B1D5-E3B9573D2EA3}" type="presParOf" srcId="{3546B967-8C61-4241-893D-14976DE7E895}" destId="{323E2471-A156-4DC9-8851-05AC2637DF66}" srcOrd="0" destOrd="0" presId="urn:microsoft.com/office/officeart/2005/8/layout/chevron2"/>
    <dgm:cxn modelId="{83D477CD-0682-4781-B343-347EC0057626}" type="presParOf" srcId="{3546B967-8C61-4241-893D-14976DE7E895}" destId="{9A42A1D2-65BE-4750-A8EF-A90E13BD4DF5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4645EFC-6F8A-4D03-A8FD-609D821996C8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9E5C636-41E5-44C3-8DCA-6A93A83CF828}">
      <dgm:prSet phldrT="[Texte]" custT="1"/>
      <dgm:spPr/>
      <dgm:t>
        <a:bodyPr/>
        <a:lstStyle/>
        <a:p>
          <a:br>
            <a:rPr lang="fr-FR" sz="1000" dirty="0"/>
          </a:br>
          <a:r>
            <a:rPr lang="fr-FR" sz="2400" dirty="0"/>
            <a:t>03/10</a:t>
          </a:r>
          <a:br>
            <a:rPr lang="fr-FR" sz="2000" dirty="0"/>
          </a:br>
          <a:r>
            <a:rPr lang="fr-FR" sz="1400" dirty="0"/>
            <a:t>PM</a:t>
          </a:r>
        </a:p>
      </dgm:t>
    </dgm:pt>
    <dgm:pt modelId="{5AEE061D-CC34-4702-88BF-D799BDAF029A}" type="parTrans" cxnId="{CC6DE396-D3BA-4EDE-AE22-C1D6ACC886B5}">
      <dgm:prSet/>
      <dgm:spPr/>
      <dgm:t>
        <a:bodyPr/>
        <a:lstStyle/>
        <a:p>
          <a:endParaRPr lang="fr-FR"/>
        </a:p>
      </dgm:t>
    </dgm:pt>
    <dgm:pt modelId="{E6FF0732-DDF0-410D-A45E-6386845BBA7B}" type="sibTrans" cxnId="{CC6DE396-D3BA-4EDE-AE22-C1D6ACC886B5}">
      <dgm:prSet/>
      <dgm:spPr/>
      <dgm:t>
        <a:bodyPr/>
        <a:lstStyle/>
        <a:p>
          <a:endParaRPr lang="fr-FR"/>
        </a:p>
      </dgm:t>
    </dgm:pt>
    <dgm:pt modelId="{DE160B99-4D51-4B35-AE1E-BC081FD59A1F}">
      <dgm:prSet phldrT="[Texte]" custT="1"/>
      <dgm:spPr>
        <a:solidFill>
          <a:schemeClr val="bg2"/>
        </a:solidFill>
      </dgm:spPr>
      <dgm:t>
        <a:bodyPr/>
        <a:lstStyle/>
        <a:p>
          <a:pPr>
            <a:buNone/>
          </a:pPr>
          <a:r>
            <a:rPr lang="fr-FR" sz="2000" dirty="0"/>
            <a:t>Conception</a:t>
          </a:r>
        </a:p>
      </dgm:t>
    </dgm:pt>
    <dgm:pt modelId="{826A75B5-C3F5-49AD-9E59-7277171B8FD8}" type="parTrans" cxnId="{D1D64F5B-99E8-4F5F-85BE-C5AB09BDE2B4}">
      <dgm:prSet/>
      <dgm:spPr/>
      <dgm:t>
        <a:bodyPr/>
        <a:lstStyle/>
        <a:p>
          <a:endParaRPr lang="fr-FR"/>
        </a:p>
      </dgm:t>
    </dgm:pt>
    <dgm:pt modelId="{BA081B2F-A5A7-43BB-9953-266BB5AC92BB}" type="sibTrans" cxnId="{D1D64F5B-99E8-4F5F-85BE-C5AB09BDE2B4}">
      <dgm:prSet/>
      <dgm:spPr/>
      <dgm:t>
        <a:bodyPr/>
        <a:lstStyle/>
        <a:p>
          <a:endParaRPr lang="fr-FR"/>
        </a:p>
      </dgm:t>
    </dgm:pt>
    <dgm:pt modelId="{AB88D617-051F-45A2-82C4-F6CF760FCF7F}" type="pres">
      <dgm:prSet presAssocID="{54645EFC-6F8A-4D03-A8FD-609D821996C8}" presName="linearFlow" presStyleCnt="0">
        <dgm:presLayoutVars>
          <dgm:dir/>
          <dgm:animLvl val="lvl"/>
          <dgm:resizeHandles val="exact"/>
        </dgm:presLayoutVars>
      </dgm:prSet>
      <dgm:spPr/>
    </dgm:pt>
    <dgm:pt modelId="{3546B967-8C61-4241-893D-14976DE7E895}" type="pres">
      <dgm:prSet presAssocID="{79E5C636-41E5-44C3-8DCA-6A93A83CF828}" presName="composite" presStyleCnt="0"/>
      <dgm:spPr/>
    </dgm:pt>
    <dgm:pt modelId="{323E2471-A156-4DC9-8851-05AC2637DF66}" type="pres">
      <dgm:prSet presAssocID="{79E5C636-41E5-44C3-8DCA-6A93A83CF828}" presName="parentText" presStyleLbl="alignNode1" presStyleIdx="0" presStyleCnt="1">
        <dgm:presLayoutVars>
          <dgm:chMax val="1"/>
          <dgm:bulletEnabled val="1"/>
        </dgm:presLayoutVars>
      </dgm:prSet>
      <dgm:spPr/>
    </dgm:pt>
    <dgm:pt modelId="{9A42A1D2-65BE-4750-A8EF-A90E13BD4DF5}" type="pres">
      <dgm:prSet presAssocID="{79E5C636-41E5-44C3-8DCA-6A93A83CF828}" presName="descendantText" presStyleLbl="alignAcc1" presStyleIdx="0" presStyleCnt="1" custScaleY="100000" custLinFactNeighborY="0">
        <dgm:presLayoutVars>
          <dgm:bulletEnabled val="1"/>
        </dgm:presLayoutVars>
      </dgm:prSet>
      <dgm:spPr/>
    </dgm:pt>
  </dgm:ptLst>
  <dgm:cxnLst>
    <dgm:cxn modelId="{A785972D-FDEA-4D9A-91F3-9F6C43A65880}" type="presOf" srcId="{79E5C636-41E5-44C3-8DCA-6A93A83CF828}" destId="{323E2471-A156-4DC9-8851-05AC2637DF66}" srcOrd="0" destOrd="0" presId="urn:microsoft.com/office/officeart/2005/8/layout/chevron2"/>
    <dgm:cxn modelId="{D1D64F5B-99E8-4F5F-85BE-C5AB09BDE2B4}" srcId="{79E5C636-41E5-44C3-8DCA-6A93A83CF828}" destId="{DE160B99-4D51-4B35-AE1E-BC081FD59A1F}" srcOrd="0" destOrd="0" parTransId="{826A75B5-C3F5-49AD-9E59-7277171B8FD8}" sibTransId="{BA081B2F-A5A7-43BB-9953-266BB5AC92BB}"/>
    <dgm:cxn modelId="{CC6DE396-D3BA-4EDE-AE22-C1D6ACC886B5}" srcId="{54645EFC-6F8A-4D03-A8FD-609D821996C8}" destId="{79E5C636-41E5-44C3-8DCA-6A93A83CF828}" srcOrd="0" destOrd="0" parTransId="{5AEE061D-CC34-4702-88BF-D799BDAF029A}" sibTransId="{E6FF0732-DDF0-410D-A45E-6386845BBA7B}"/>
    <dgm:cxn modelId="{5CA8B9B1-8CFB-42CC-A01E-AB41172EEBE4}" type="presOf" srcId="{DE160B99-4D51-4B35-AE1E-BC081FD59A1F}" destId="{9A42A1D2-65BE-4750-A8EF-A90E13BD4DF5}" srcOrd="0" destOrd="0" presId="urn:microsoft.com/office/officeart/2005/8/layout/chevron2"/>
    <dgm:cxn modelId="{36836EEF-806B-48C5-B710-B4A0A5B90EE7}" type="presOf" srcId="{54645EFC-6F8A-4D03-A8FD-609D821996C8}" destId="{AB88D617-051F-45A2-82C4-F6CF760FCF7F}" srcOrd="0" destOrd="0" presId="urn:microsoft.com/office/officeart/2005/8/layout/chevron2"/>
    <dgm:cxn modelId="{8CD8DB9D-6D81-41F0-AEE0-07356B736914}" type="presParOf" srcId="{AB88D617-051F-45A2-82C4-F6CF760FCF7F}" destId="{3546B967-8C61-4241-893D-14976DE7E895}" srcOrd="0" destOrd="0" presId="urn:microsoft.com/office/officeart/2005/8/layout/chevron2"/>
    <dgm:cxn modelId="{18410905-0696-42E8-B1D5-E3B9573D2EA3}" type="presParOf" srcId="{3546B967-8C61-4241-893D-14976DE7E895}" destId="{323E2471-A156-4DC9-8851-05AC2637DF66}" srcOrd="0" destOrd="0" presId="urn:microsoft.com/office/officeart/2005/8/layout/chevron2"/>
    <dgm:cxn modelId="{83D477CD-0682-4781-B343-347EC0057626}" type="presParOf" srcId="{3546B967-8C61-4241-893D-14976DE7E895}" destId="{9A42A1D2-65BE-4750-A8EF-A90E13BD4DF5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4645EFC-6F8A-4D03-A8FD-609D821996C8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9E5C636-41E5-44C3-8DCA-6A93A83CF828}">
      <dgm:prSet phldrT="[Texte]" custT="1"/>
      <dgm:spPr/>
      <dgm:t>
        <a:bodyPr/>
        <a:lstStyle/>
        <a:p>
          <a:br>
            <a:rPr lang="fr-FR" sz="1000" dirty="0"/>
          </a:br>
          <a:r>
            <a:rPr lang="fr-FR" sz="2400" dirty="0"/>
            <a:t>10/10</a:t>
          </a:r>
          <a:br>
            <a:rPr lang="fr-FR" sz="2000" dirty="0"/>
          </a:br>
          <a:endParaRPr lang="fr-FR" sz="1400" dirty="0"/>
        </a:p>
      </dgm:t>
    </dgm:pt>
    <dgm:pt modelId="{5AEE061D-CC34-4702-88BF-D799BDAF029A}" type="parTrans" cxnId="{CC6DE396-D3BA-4EDE-AE22-C1D6ACC886B5}">
      <dgm:prSet/>
      <dgm:spPr/>
      <dgm:t>
        <a:bodyPr/>
        <a:lstStyle/>
        <a:p>
          <a:endParaRPr lang="fr-FR"/>
        </a:p>
      </dgm:t>
    </dgm:pt>
    <dgm:pt modelId="{E6FF0732-DDF0-410D-A45E-6386845BBA7B}" type="sibTrans" cxnId="{CC6DE396-D3BA-4EDE-AE22-C1D6ACC886B5}">
      <dgm:prSet/>
      <dgm:spPr/>
      <dgm:t>
        <a:bodyPr/>
        <a:lstStyle/>
        <a:p>
          <a:endParaRPr lang="fr-FR"/>
        </a:p>
      </dgm:t>
    </dgm:pt>
    <dgm:pt modelId="{DE160B99-4D51-4B35-AE1E-BC081FD59A1F}">
      <dgm:prSet phldrT="[Texte]" custT="1"/>
      <dgm:spPr>
        <a:solidFill>
          <a:schemeClr val="bg2"/>
        </a:solidFill>
      </dgm:spPr>
      <dgm:t>
        <a:bodyPr/>
        <a:lstStyle/>
        <a:p>
          <a:pPr>
            <a:buNone/>
          </a:pPr>
          <a:r>
            <a:rPr lang="fr-FR" sz="2000" dirty="0"/>
            <a:t>Présentation</a:t>
          </a:r>
        </a:p>
      </dgm:t>
    </dgm:pt>
    <dgm:pt modelId="{826A75B5-C3F5-49AD-9E59-7277171B8FD8}" type="parTrans" cxnId="{D1D64F5B-99E8-4F5F-85BE-C5AB09BDE2B4}">
      <dgm:prSet/>
      <dgm:spPr/>
      <dgm:t>
        <a:bodyPr/>
        <a:lstStyle/>
        <a:p>
          <a:endParaRPr lang="fr-FR"/>
        </a:p>
      </dgm:t>
    </dgm:pt>
    <dgm:pt modelId="{BA081B2F-A5A7-43BB-9953-266BB5AC92BB}" type="sibTrans" cxnId="{D1D64F5B-99E8-4F5F-85BE-C5AB09BDE2B4}">
      <dgm:prSet/>
      <dgm:spPr/>
      <dgm:t>
        <a:bodyPr/>
        <a:lstStyle/>
        <a:p>
          <a:endParaRPr lang="fr-FR"/>
        </a:p>
      </dgm:t>
    </dgm:pt>
    <dgm:pt modelId="{AB88D617-051F-45A2-82C4-F6CF760FCF7F}" type="pres">
      <dgm:prSet presAssocID="{54645EFC-6F8A-4D03-A8FD-609D821996C8}" presName="linearFlow" presStyleCnt="0">
        <dgm:presLayoutVars>
          <dgm:dir/>
          <dgm:animLvl val="lvl"/>
          <dgm:resizeHandles val="exact"/>
        </dgm:presLayoutVars>
      </dgm:prSet>
      <dgm:spPr/>
    </dgm:pt>
    <dgm:pt modelId="{3546B967-8C61-4241-893D-14976DE7E895}" type="pres">
      <dgm:prSet presAssocID="{79E5C636-41E5-44C3-8DCA-6A93A83CF828}" presName="composite" presStyleCnt="0"/>
      <dgm:spPr/>
    </dgm:pt>
    <dgm:pt modelId="{323E2471-A156-4DC9-8851-05AC2637DF66}" type="pres">
      <dgm:prSet presAssocID="{79E5C636-41E5-44C3-8DCA-6A93A83CF828}" presName="parentText" presStyleLbl="alignNode1" presStyleIdx="0" presStyleCnt="1">
        <dgm:presLayoutVars>
          <dgm:chMax val="1"/>
          <dgm:bulletEnabled val="1"/>
        </dgm:presLayoutVars>
      </dgm:prSet>
      <dgm:spPr/>
    </dgm:pt>
    <dgm:pt modelId="{9A42A1D2-65BE-4750-A8EF-A90E13BD4DF5}" type="pres">
      <dgm:prSet presAssocID="{79E5C636-41E5-44C3-8DCA-6A93A83CF828}" presName="descendantText" presStyleLbl="alignAcc1" presStyleIdx="0" presStyleCnt="1" custScaleY="100000" custLinFactNeighborY="0">
        <dgm:presLayoutVars>
          <dgm:bulletEnabled val="1"/>
        </dgm:presLayoutVars>
      </dgm:prSet>
      <dgm:spPr/>
    </dgm:pt>
  </dgm:ptLst>
  <dgm:cxnLst>
    <dgm:cxn modelId="{A785972D-FDEA-4D9A-91F3-9F6C43A65880}" type="presOf" srcId="{79E5C636-41E5-44C3-8DCA-6A93A83CF828}" destId="{323E2471-A156-4DC9-8851-05AC2637DF66}" srcOrd="0" destOrd="0" presId="urn:microsoft.com/office/officeart/2005/8/layout/chevron2"/>
    <dgm:cxn modelId="{D1D64F5B-99E8-4F5F-85BE-C5AB09BDE2B4}" srcId="{79E5C636-41E5-44C3-8DCA-6A93A83CF828}" destId="{DE160B99-4D51-4B35-AE1E-BC081FD59A1F}" srcOrd="0" destOrd="0" parTransId="{826A75B5-C3F5-49AD-9E59-7277171B8FD8}" sibTransId="{BA081B2F-A5A7-43BB-9953-266BB5AC92BB}"/>
    <dgm:cxn modelId="{CC6DE396-D3BA-4EDE-AE22-C1D6ACC886B5}" srcId="{54645EFC-6F8A-4D03-A8FD-609D821996C8}" destId="{79E5C636-41E5-44C3-8DCA-6A93A83CF828}" srcOrd="0" destOrd="0" parTransId="{5AEE061D-CC34-4702-88BF-D799BDAF029A}" sibTransId="{E6FF0732-DDF0-410D-A45E-6386845BBA7B}"/>
    <dgm:cxn modelId="{5CA8B9B1-8CFB-42CC-A01E-AB41172EEBE4}" type="presOf" srcId="{DE160B99-4D51-4B35-AE1E-BC081FD59A1F}" destId="{9A42A1D2-65BE-4750-A8EF-A90E13BD4DF5}" srcOrd="0" destOrd="0" presId="urn:microsoft.com/office/officeart/2005/8/layout/chevron2"/>
    <dgm:cxn modelId="{36836EEF-806B-48C5-B710-B4A0A5B90EE7}" type="presOf" srcId="{54645EFC-6F8A-4D03-A8FD-609D821996C8}" destId="{AB88D617-051F-45A2-82C4-F6CF760FCF7F}" srcOrd="0" destOrd="0" presId="urn:microsoft.com/office/officeart/2005/8/layout/chevron2"/>
    <dgm:cxn modelId="{8CD8DB9D-6D81-41F0-AEE0-07356B736914}" type="presParOf" srcId="{AB88D617-051F-45A2-82C4-F6CF760FCF7F}" destId="{3546B967-8C61-4241-893D-14976DE7E895}" srcOrd="0" destOrd="0" presId="urn:microsoft.com/office/officeart/2005/8/layout/chevron2"/>
    <dgm:cxn modelId="{18410905-0696-42E8-B1D5-E3B9573D2EA3}" type="presParOf" srcId="{3546B967-8C61-4241-893D-14976DE7E895}" destId="{323E2471-A156-4DC9-8851-05AC2637DF66}" srcOrd="0" destOrd="0" presId="urn:microsoft.com/office/officeart/2005/8/layout/chevron2"/>
    <dgm:cxn modelId="{83D477CD-0682-4781-B343-347EC0057626}" type="presParOf" srcId="{3546B967-8C61-4241-893D-14976DE7E895}" destId="{9A42A1D2-65BE-4750-A8EF-A90E13BD4DF5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25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4645EFC-6F8A-4D03-A8FD-609D821996C8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9E5C636-41E5-44C3-8DCA-6A93A83CF828}">
      <dgm:prSet phldrT="[Texte]" custT="1"/>
      <dgm:spPr/>
      <dgm:t>
        <a:bodyPr/>
        <a:lstStyle/>
        <a:p>
          <a:br>
            <a:rPr lang="fr-FR" sz="1000" dirty="0"/>
          </a:br>
          <a:r>
            <a:rPr lang="fr-FR" sz="2400" dirty="0"/>
            <a:t>03/10</a:t>
          </a:r>
          <a:br>
            <a:rPr lang="fr-FR" sz="2000" dirty="0"/>
          </a:br>
          <a:r>
            <a:rPr lang="fr-FR" sz="1400" dirty="0"/>
            <a:t>PM</a:t>
          </a:r>
        </a:p>
      </dgm:t>
    </dgm:pt>
    <dgm:pt modelId="{5AEE061D-CC34-4702-88BF-D799BDAF029A}" type="parTrans" cxnId="{CC6DE396-D3BA-4EDE-AE22-C1D6ACC886B5}">
      <dgm:prSet/>
      <dgm:spPr/>
      <dgm:t>
        <a:bodyPr/>
        <a:lstStyle/>
        <a:p>
          <a:endParaRPr lang="fr-FR"/>
        </a:p>
      </dgm:t>
    </dgm:pt>
    <dgm:pt modelId="{E6FF0732-DDF0-410D-A45E-6386845BBA7B}" type="sibTrans" cxnId="{CC6DE396-D3BA-4EDE-AE22-C1D6ACC886B5}">
      <dgm:prSet/>
      <dgm:spPr/>
      <dgm:t>
        <a:bodyPr/>
        <a:lstStyle/>
        <a:p>
          <a:endParaRPr lang="fr-FR"/>
        </a:p>
      </dgm:t>
    </dgm:pt>
    <dgm:pt modelId="{DE160B99-4D51-4B35-AE1E-BC081FD59A1F}">
      <dgm:prSet phldrT="[Texte]" custT="1"/>
      <dgm:spPr>
        <a:solidFill>
          <a:schemeClr val="bg2"/>
        </a:solidFill>
      </dgm:spPr>
      <dgm:t>
        <a:bodyPr/>
        <a:lstStyle/>
        <a:p>
          <a:pPr>
            <a:buNone/>
          </a:pPr>
          <a:r>
            <a:rPr lang="fr-FR" sz="2000" dirty="0"/>
            <a:t>Conception</a:t>
          </a:r>
        </a:p>
      </dgm:t>
    </dgm:pt>
    <dgm:pt modelId="{826A75B5-C3F5-49AD-9E59-7277171B8FD8}" type="parTrans" cxnId="{D1D64F5B-99E8-4F5F-85BE-C5AB09BDE2B4}">
      <dgm:prSet/>
      <dgm:spPr/>
      <dgm:t>
        <a:bodyPr/>
        <a:lstStyle/>
        <a:p>
          <a:endParaRPr lang="fr-FR"/>
        </a:p>
      </dgm:t>
    </dgm:pt>
    <dgm:pt modelId="{BA081B2F-A5A7-43BB-9953-266BB5AC92BB}" type="sibTrans" cxnId="{D1D64F5B-99E8-4F5F-85BE-C5AB09BDE2B4}">
      <dgm:prSet/>
      <dgm:spPr/>
      <dgm:t>
        <a:bodyPr/>
        <a:lstStyle/>
        <a:p>
          <a:endParaRPr lang="fr-FR"/>
        </a:p>
      </dgm:t>
    </dgm:pt>
    <dgm:pt modelId="{AB88D617-051F-45A2-82C4-F6CF760FCF7F}" type="pres">
      <dgm:prSet presAssocID="{54645EFC-6F8A-4D03-A8FD-609D821996C8}" presName="linearFlow" presStyleCnt="0">
        <dgm:presLayoutVars>
          <dgm:dir/>
          <dgm:animLvl val="lvl"/>
          <dgm:resizeHandles val="exact"/>
        </dgm:presLayoutVars>
      </dgm:prSet>
      <dgm:spPr/>
    </dgm:pt>
    <dgm:pt modelId="{3546B967-8C61-4241-893D-14976DE7E895}" type="pres">
      <dgm:prSet presAssocID="{79E5C636-41E5-44C3-8DCA-6A93A83CF828}" presName="composite" presStyleCnt="0"/>
      <dgm:spPr/>
    </dgm:pt>
    <dgm:pt modelId="{323E2471-A156-4DC9-8851-05AC2637DF66}" type="pres">
      <dgm:prSet presAssocID="{79E5C636-41E5-44C3-8DCA-6A93A83CF828}" presName="parentText" presStyleLbl="alignNode1" presStyleIdx="0" presStyleCnt="1">
        <dgm:presLayoutVars>
          <dgm:chMax val="1"/>
          <dgm:bulletEnabled val="1"/>
        </dgm:presLayoutVars>
      </dgm:prSet>
      <dgm:spPr/>
    </dgm:pt>
    <dgm:pt modelId="{9A42A1D2-65BE-4750-A8EF-A90E13BD4DF5}" type="pres">
      <dgm:prSet presAssocID="{79E5C636-41E5-44C3-8DCA-6A93A83CF828}" presName="descendantText" presStyleLbl="alignAcc1" presStyleIdx="0" presStyleCnt="1" custScaleY="100000" custLinFactNeighborY="0">
        <dgm:presLayoutVars>
          <dgm:bulletEnabled val="1"/>
        </dgm:presLayoutVars>
      </dgm:prSet>
      <dgm:spPr/>
    </dgm:pt>
  </dgm:ptLst>
  <dgm:cxnLst>
    <dgm:cxn modelId="{A785972D-FDEA-4D9A-91F3-9F6C43A65880}" type="presOf" srcId="{79E5C636-41E5-44C3-8DCA-6A93A83CF828}" destId="{323E2471-A156-4DC9-8851-05AC2637DF66}" srcOrd="0" destOrd="0" presId="urn:microsoft.com/office/officeart/2005/8/layout/chevron2"/>
    <dgm:cxn modelId="{D1D64F5B-99E8-4F5F-85BE-C5AB09BDE2B4}" srcId="{79E5C636-41E5-44C3-8DCA-6A93A83CF828}" destId="{DE160B99-4D51-4B35-AE1E-BC081FD59A1F}" srcOrd="0" destOrd="0" parTransId="{826A75B5-C3F5-49AD-9E59-7277171B8FD8}" sibTransId="{BA081B2F-A5A7-43BB-9953-266BB5AC92BB}"/>
    <dgm:cxn modelId="{CC6DE396-D3BA-4EDE-AE22-C1D6ACC886B5}" srcId="{54645EFC-6F8A-4D03-A8FD-609D821996C8}" destId="{79E5C636-41E5-44C3-8DCA-6A93A83CF828}" srcOrd="0" destOrd="0" parTransId="{5AEE061D-CC34-4702-88BF-D799BDAF029A}" sibTransId="{E6FF0732-DDF0-410D-A45E-6386845BBA7B}"/>
    <dgm:cxn modelId="{5CA8B9B1-8CFB-42CC-A01E-AB41172EEBE4}" type="presOf" srcId="{DE160B99-4D51-4B35-AE1E-BC081FD59A1F}" destId="{9A42A1D2-65BE-4750-A8EF-A90E13BD4DF5}" srcOrd="0" destOrd="0" presId="urn:microsoft.com/office/officeart/2005/8/layout/chevron2"/>
    <dgm:cxn modelId="{36836EEF-806B-48C5-B710-B4A0A5B90EE7}" type="presOf" srcId="{54645EFC-6F8A-4D03-A8FD-609D821996C8}" destId="{AB88D617-051F-45A2-82C4-F6CF760FCF7F}" srcOrd="0" destOrd="0" presId="urn:microsoft.com/office/officeart/2005/8/layout/chevron2"/>
    <dgm:cxn modelId="{8CD8DB9D-6D81-41F0-AEE0-07356B736914}" type="presParOf" srcId="{AB88D617-051F-45A2-82C4-F6CF760FCF7F}" destId="{3546B967-8C61-4241-893D-14976DE7E895}" srcOrd="0" destOrd="0" presId="urn:microsoft.com/office/officeart/2005/8/layout/chevron2"/>
    <dgm:cxn modelId="{18410905-0696-42E8-B1D5-E3B9573D2EA3}" type="presParOf" srcId="{3546B967-8C61-4241-893D-14976DE7E895}" destId="{323E2471-A156-4DC9-8851-05AC2637DF66}" srcOrd="0" destOrd="0" presId="urn:microsoft.com/office/officeart/2005/8/layout/chevron2"/>
    <dgm:cxn modelId="{83D477CD-0682-4781-B343-347EC0057626}" type="presParOf" srcId="{3546B967-8C61-4241-893D-14976DE7E895}" destId="{9A42A1D2-65BE-4750-A8EF-A90E13BD4DF5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54645EFC-6F8A-4D03-A8FD-609D821996C8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9E5C636-41E5-44C3-8DCA-6A93A83CF828}">
      <dgm:prSet phldrT="[Texte]" custT="1"/>
      <dgm:spPr/>
      <dgm:t>
        <a:bodyPr/>
        <a:lstStyle/>
        <a:p>
          <a:br>
            <a:rPr lang="fr-FR" sz="1000" dirty="0"/>
          </a:br>
          <a:r>
            <a:rPr lang="fr-FR" sz="2400" dirty="0"/>
            <a:t>04/10</a:t>
          </a:r>
          <a:br>
            <a:rPr lang="fr-FR" sz="2000" dirty="0"/>
          </a:br>
          <a:r>
            <a:rPr lang="fr-FR" sz="1400" dirty="0"/>
            <a:t>AM</a:t>
          </a:r>
        </a:p>
      </dgm:t>
    </dgm:pt>
    <dgm:pt modelId="{5AEE061D-CC34-4702-88BF-D799BDAF029A}" type="parTrans" cxnId="{CC6DE396-D3BA-4EDE-AE22-C1D6ACC886B5}">
      <dgm:prSet/>
      <dgm:spPr/>
      <dgm:t>
        <a:bodyPr/>
        <a:lstStyle/>
        <a:p>
          <a:endParaRPr lang="fr-FR"/>
        </a:p>
      </dgm:t>
    </dgm:pt>
    <dgm:pt modelId="{E6FF0732-DDF0-410D-A45E-6386845BBA7B}" type="sibTrans" cxnId="{CC6DE396-D3BA-4EDE-AE22-C1D6ACC886B5}">
      <dgm:prSet/>
      <dgm:spPr/>
      <dgm:t>
        <a:bodyPr/>
        <a:lstStyle/>
        <a:p>
          <a:endParaRPr lang="fr-FR"/>
        </a:p>
      </dgm:t>
    </dgm:pt>
    <dgm:pt modelId="{DE160B99-4D51-4B35-AE1E-BC081FD59A1F}">
      <dgm:prSet phldrT="[Texte]" custT="1"/>
      <dgm:spPr>
        <a:solidFill>
          <a:schemeClr val="bg2"/>
        </a:solidFill>
      </dgm:spPr>
      <dgm:t>
        <a:bodyPr/>
        <a:lstStyle/>
        <a:p>
          <a:pPr>
            <a:buNone/>
          </a:pPr>
          <a:r>
            <a:rPr lang="fr-FR" sz="2000" dirty="0"/>
            <a:t>Maquette papier</a:t>
          </a:r>
        </a:p>
      </dgm:t>
    </dgm:pt>
    <dgm:pt modelId="{826A75B5-C3F5-49AD-9E59-7277171B8FD8}" type="parTrans" cxnId="{D1D64F5B-99E8-4F5F-85BE-C5AB09BDE2B4}">
      <dgm:prSet/>
      <dgm:spPr/>
      <dgm:t>
        <a:bodyPr/>
        <a:lstStyle/>
        <a:p>
          <a:endParaRPr lang="fr-FR"/>
        </a:p>
      </dgm:t>
    </dgm:pt>
    <dgm:pt modelId="{BA081B2F-A5A7-43BB-9953-266BB5AC92BB}" type="sibTrans" cxnId="{D1D64F5B-99E8-4F5F-85BE-C5AB09BDE2B4}">
      <dgm:prSet/>
      <dgm:spPr/>
      <dgm:t>
        <a:bodyPr/>
        <a:lstStyle/>
        <a:p>
          <a:endParaRPr lang="fr-FR"/>
        </a:p>
      </dgm:t>
    </dgm:pt>
    <dgm:pt modelId="{AB88D617-051F-45A2-82C4-F6CF760FCF7F}" type="pres">
      <dgm:prSet presAssocID="{54645EFC-6F8A-4D03-A8FD-609D821996C8}" presName="linearFlow" presStyleCnt="0">
        <dgm:presLayoutVars>
          <dgm:dir/>
          <dgm:animLvl val="lvl"/>
          <dgm:resizeHandles val="exact"/>
        </dgm:presLayoutVars>
      </dgm:prSet>
      <dgm:spPr/>
    </dgm:pt>
    <dgm:pt modelId="{3546B967-8C61-4241-893D-14976DE7E895}" type="pres">
      <dgm:prSet presAssocID="{79E5C636-41E5-44C3-8DCA-6A93A83CF828}" presName="composite" presStyleCnt="0"/>
      <dgm:spPr/>
    </dgm:pt>
    <dgm:pt modelId="{323E2471-A156-4DC9-8851-05AC2637DF66}" type="pres">
      <dgm:prSet presAssocID="{79E5C636-41E5-44C3-8DCA-6A93A83CF828}" presName="parentText" presStyleLbl="alignNode1" presStyleIdx="0" presStyleCnt="1">
        <dgm:presLayoutVars>
          <dgm:chMax val="1"/>
          <dgm:bulletEnabled val="1"/>
        </dgm:presLayoutVars>
      </dgm:prSet>
      <dgm:spPr/>
    </dgm:pt>
    <dgm:pt modelId="{9A42A1D2-65BE-4750-A8EF-A90E13BD4DF5}" type="pres">
      <dgm:prSet presAssocID="{79E5C636-41E5-44C3-8DCA-6A93A83CF828}" presName="descendantText" presStyleLbl="alignAcc1" presStyleIdx="0" presStyleCnt="1" custScaleY="100000" custLinFactNeighborY="0">
        <dgm:presLayoutVars>
          <dgm:bulletEnabled val="1"/>
        </dgm:presLayoutVars>
      </dgm:prSet>
      <dgm:spPr/>
    </dgm:pt>
  </dgm:ptLst>
  <dgm:cxnLst>
    <dgm:cxn modelId="{A785972D-FDEA-4D9A-91F3-9F6C43A65880}" type="presOf" srcId="{79E5C636-41E5-44C3-8DCA-6A93A83CF828}" destId="{323E2471-A156-4DC9-8851-05AC2637DF66}" srcOrd="0" destOrd="0" presId="urn:microsoft.com/office/officeart/2005/8/layout/chevron2"/>
    <dgm:cxn modelId="{D1D64F5B-99E8-4F5F-85BE-C5AB09BDE2B4}" srcId="{79E5C636-41E5-44C3-8DCA-6A93A83CF828}" destId="{DE160B99-4D51-4B35-AE1E-BC081FD59A1F}" srcOrd="0" destOrd="0" parTransId="{826A75B5-C3F5-49AD-9E59-7277171B8FD8}" sibTransId="{BA081B2F-A5A7-43BB-9953-266BB5AC92BB}"/>
    <dgm:cxn modelId="{CC6DE396-D3BA-4EDE-AE22-C1D6ACC886B5}" srcId="{54645EFC-6F8A-4D03-A8FD-609D821996C8}" destId="{79E5C636-41E5-44C3-8DCA-6A93A83CF828}" srcOrd="0" destOrd="0" parTransId="{5AEE061D-CC34-4702-88BF-D799BDAF029A}" sibTransId="{E6FF0732-DDF0-410D-A45E-6386845BBA7B}"/>
    <dgm:cxn modelId="{5CA8B9B1-8CFB-42CC-A01E-AB41172EEBE4}" type="presOf" srcId="{DE160B99-4D51-4B35-AE1E-BC081FD59A1F}" destId="{9A42A1D2-65BE-4750-A8EF-A90E13BD4DF5}" srcOrd="0" destOrd="0" presId="urn:microsoft.com/office/officeart/2005/8/layout/chevron2"/>
    <dgm:cxn modelId="{36836EEF-806B-48C5-B710-B4A0A5B90EE7}" type="presOf" srcId="{54645EFC-6F8A-4D03-A8FD-609D821996C8}" destId="{AB88D617-051F-45A2-82C4-F6CF760FCF7F}" srcOrd="0" destOrd="0" presId="urn:microsoft.com/office/officeart/2005/8/layout/chevron2"/>
    <dgm:cxn modelId="{8CD8DB9D-6D81-41F0-AEE0-07356B736914}" type="presParOf" srcId="{AB88D617-051F-45A2-82C4-F6CF760FCF7F}" destId="{3546B967-8C61-4241-893D-14976DE7E895}" srcOrd="0" destOrd="0" presId="urn:microsoft.com/office/officeart/2005/8/layout/chevron2"/>
    <dgm:cxn modelId="{18410905-0696-42E8-B1D5-E3B9573D2EA3}" type="presParOf" srcId="{3546B967-8C61-4241-893D-14976DE7E895}" destId="{323E2471-A156-4DC9-8851-05AC2637DF66}" srcOrd="0" destOrd="0" presId="urn:microsoft.com/office/officeart/2005/8/layout/chevron2"/>
    <dgm:cxn modelId="{83D477CD-0682-4781-B343-347EC0057626}" type="presParOf" srcId="{3546B967-8C61-4241-893D-14976DE7E895}" destId="{9A42A1D2-65BE-4750-A8EF-A90E13BD4DF5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54645EFC-6F8A-4D03-A8FD-609D821996C8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9E5C636-41E5-44C3-8DCA-6A93A83CF828}">
      <dgm:prSet phldrT="[Texte]" custT="1"/>
      <dgm:spPr/>
      <dgm:t>
        <a:bodyPr/>
        <a:lstStyle/>
        <a:p>
          <a:br>
            <a:rPr lang="fr-FR" sz="1000" dirty="0"/>
          </a:br>
          <a:r>
            <a:rPr lang="fr-FR" sz="2400" dirty="0"/>
            <a:t>04/10</a:t>
          </a:r>
          <a:br>
            <a:rPr lang="fr-FR" sz="2000" dirty="0"/>
          </a:br>
          <a:r>
            <a:rPr lang="fr-FR" sz="1400" dirty="0"/>
            <a:t>PM</a:t>
          </a:r>
        </a:p>
      </dgm:t>
    </dgm:pt>
    <dgm:pt modelId="{5AEE061D-CC34-4702-88BF-D799BDAF029A}" type="parTrans" cxnId="{CC6DE396-D3BA-4EDE-AE22-C1D6ACC886B5}">
      <dgm:prSet/>
      <dgm:spPr/>
      <dgm:t>
        <a:bodyPr/>
        <a:lstStyle/>
        <a:p>
          <a:endParaRPr lang="fr-FR"/>
        </a:p>
      </dgm:t>
    </dgm:pt>
    <dgm:pt modelId="{E6FF0732-DDF0-410D-A45E-6386845BBA7B}" type="sibTrans" cxnId="{CC6DE396-D3BA-4EDE-AE22-C1D6ACC886B5}">
      <dgm:prSet/>
      <dgm:spPr/>
      <dgm:t>
        <a:bodyPr/>
        <a:lstStyle/>
        <a:p>
          <a:endParaRPr lang="fr-FR"/>
        </a:p>
      </dgm:t>
    </dgm:pt>
    <dgm:pt modelId="{DE160B99-4D51-4B35-AE1E-BC081FD59A1F}">
      <dgm:prSet phldrT="[Texte]" custT="1"/>
      <dgm:spPr>
        <a:solidFill>
          <a:schemeClr val="bg2"/>
        </a:solidFill>
      </dgm:spPr>
      <dgm:t>
        <a:bodyPr/>
        <a:lstStyle/>
        <a:p>
          <a:pPr>
            <a:buNone/>
          </a:pPr>
          <a:r>
            <a:rPr lang="fr-FR" sz="2000" dirty="0"/>
            <a:t>Jeu vidéo</a:t>
          </a:r>
        </a:p>
      </dgm:t>
    </dgm:pt>
    <dgm:pt modelId="{826A75B5-C3F5-49AD-9E59-7277171B8FD8}" type="parTrans" cxnId="{D1D64F5B-99E8-4F5F-85BE-C5AB09BDE2B4}">
      <dgm:prSet/>
      <dgm:spPr/>
      <dgm:t>
        <a:bodyPr/>
        <a:lstStyle/>
        <a:p>
          <a:endParaRPr lang="fr-FR"/>
        </a:p>
      </dgm:t>
    </dgm:pt>
    <dgm:pt modelId="{BA081B2F-A5A7-43BB-9953-266BB5AC92BB}" type="sibTrans" cxnId="{D1D64F5B-99E8-4F5F-85BE-C5AB09BDE2B4}">
      <dgm:prSet/>
      <dgm:spPr/>
      <dgm:t>
        <a:bodyPr/>
        <a:lstStyle/>
        <a:p>
          <a:endParaRPr lang="fr-FR"/>
        </a:p>
      </dgm:t>
    </dgm:pt>
    <dgm:pt modelId="{AB88D617-051F-45A2-82C4-F6CF760FCF7F}" type="pres">
      <dgm:prSet presAssocID="{54645EFC-6F8A-4D03-A8FD-609D821996C8}" presName="linearFlow" presStyleCnt="0">
        <dgm:presLayoutVars>
          <dgm:dir/>
          <dgm:animLvl val="lvl"/>
          <dgm:resizeHandles val="exact"/>
        </dgm:presLayoutVars>
      </dgm:prSet>
      <dgm:spPr/>
    </dgm:pt>
    <dgm:pt modelId="{3546B967-8C61-4241-893D-14976DE7E895}" type="pres">
      <dgm:prSet presAssocID="{79E5C636-41E5-44C3-8DCA-6A93A83CF828}" presName="composite" presStyleCnt="0"/>
      <dgm:spPr/>
    </dgm:pt>
    <dgm:pt modelId="{323E2471-A156-4DC9-8851-05AC2637DF66}" type="pres">
      <dgm:prSet presAssocID="{79E5C636-41E5-44C3-8DCA-6A93A83CF828}" presName="parentText" presStyleLbl="alignNode1" presStyleIdx="0" presStyleCnt="1">
        <dgm:presLayoutVars>
          <dgm:chMax val="1"/>
          <dgm:bulletEnabled val="1"/>
        </dgm:presLayoutVars>
      </dgm:prSet>
      <dgm:spPr/>
    </dgm:pt>
    <dgm:pt modelId="{9A42A1D2-65BE-4750-A8EF-A90E13BD4DF5}" type="pres">
      <dgm:prSet presAssocID="{79E5C636-41E5-44C3-8DCA-6A93A83CF828}" presName="descendantText" presStyleLbl="alignAcc1" presStyleIdx="0" presStyleCnt="1" custScaleY="100000" custLinFactNeighborY="0">
        <dgm:presLayoutVars>
          <dgm:bulletEnabled val="1"/>
        </dgm:presLayoutVars>
      </dgm:prSet>
      <dgm:spPr/>
    </dgm:pt>
  </dgm:ptLst>
  <dgm:cxnLst>
    <dgm:cxn modelId="{A785972D-FDEA-4D9A-91F3-9F6C43A65880}" type="presOf" srcId="{79E5C636-41E5-44C3-8DCA-6A93A83CF828}" destId="{323E2471-A156-4DC9-8851-05AC2637DF66}" srcOrd="0" destOrd="0" presId="urn:microsoft.com/office/officeart/2005/8/layout/chevron2"/>
    <dgm:cxn modelId="{D1D64F5B-99E8-4F5F-85BE-C5AB09BDE2B4}" srcId="{79E5C636-41E5-44C3-8DCA-6A93A83CF828}" destId="{DE160B99-4D51-4B35-AE1E-BC081FD59A1F}" srcOrd="0" destOrd="0" parTransId="{826A75B5-C3F5-49AD-9E59-7277171B8FD8}" sibTransId="{BA081B2F-A5A7-43BB-9953-266BB5AC92BB}"/>
    <dgm:cxn modelId="{CC6DE396-D3BA-4EDE-AE22-C1D6ACC886B5}" srcId="{54645EFC-6F8A-4D03-A8FD-609D821996C8}" destId="{79E5C636-41E5-44C3-8DCA-6A93A83CF828}" srcOrd="0" destOrd="0" parTransId="{5AEE061D-CC34-4702-88BF-D799BDAF029A}" sibTransId="{E6FF0732-DDF0-410D-A45E-6386845BBA7B}"/>
    <dgm:cxn modelId="{5CA8B9B1-8CFB-42CC-A01E-AB41172EEBE4}" type="presOf" srcId="{DE160B99-4D51-4B35-AE1E-BC081FD59A1F}" destId="{9A42A1D2-65BE-4750-A8EF-A90E13BD4DF5}" srcOrd="0" destOrd="0" presId="urn:microsoft.com/office/officeart/2005/8/layout/chevron2"/>
    <dgm:cxn modelId="{36836EEF-806B-48C5-B710-B4A0A5B90EE7}" type="presOf" srcId="{54645EFC-6F8A-4D03-A8FD-609D821996C8}" destId="{AB88D617-051F-45A2-82C4-F6CF760FCF7F}" srcOrd="0" destOrd="0" presId="urn:microsoft.com/office/officeart/2005/8/layout/chevron2"/>
    <dgm:cxn modelId="{8CD8DB9D-6D81-41F0-AEE0-07356B736914}" type="presParOf" srcId="{AB88D617-051F-45A2-82C4-F6CF760FCF7F}" destId="{3546B967-8C61-4241-893D-14976DE7E895}" srcOrd="0" destOrd="0" presId="urn:microsoft.com/office/officeart/2005/8/layout/chevron2"/>
    <dgm:cxn modelId="{18410905-0696-42E8-B1D5-E3B9573D2EA3}" type="presParOf" srcId="{3546B967-8C61-4241-893D-14976DE7E895}" destId="{323E2471-A156-4DC9-8851-05AC2637DF66}" srcOrd="0" destOrd="0" presId="urn:microsoft.com/office/officeart/2005/8/layout/chevron2"/>
    <dgm:cxn modelId="{83D477CD-0682-4781-B343-347EC0057626}" type="presParOf" srcId="{3546B967-8C61-4241-893D-14976DE7E895}" destId="{9A42A1D2-65BE-4750-A8EF-A90E13BD4DF5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54645EFC-6F8A-4D03-A8FD-609D821996C8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9E5C636-41E5-44C3-8DCA-6A93A83CF828}">
      <dgm:prSet phldrT="[Texte]" custT="1"/>
      <dgm:spPr/>
      <dgm:t>
        <a:bodyPr/>
        <a:lstStyle/>
        <a:p>
          <a:br>
            <a:rPr lang="fr-FR" sz="1000" dirty="0"/>
          </a:br>
          <a:r>
            <a:rPr lang="fr-FR" sz="2400" dirty="0"/>
            <a:t>10/10</a:t>
          </a:r>
          <a:br>
            <a:rPr lang="fr-FR" sz="2000" dirty="0"/>
          </a:br>
          <a:endParaRPr lang="fr-FR" sz="1400" dirty="0"/>
        </a:p>
      </dgm:t>
    </dgm:pt>
    <dgm:pt modelId="{5AEE061D-CC34-4702-88BF-D799BDAF029A}" type="parTrans" cxnId="{CC6DE396-D3BA-4EDE-AE22-C1D6ACC886B5}">
      <dgm:prSet/>
      <dgm:spPr/>
      <dgm:t>
        <a:bodyPr/>
        <a:lstStyle/>
        <a:p>
          <a:endParaRPr lang="fr-FR"/>
        </a:p>
      </dgm:t>
    </dgm:pt>
    <dgm:pt modelId="{E6FF0732-DDF0-410D-A45E-6386845BBA7B}" type="sibTrans" cxnId="{CC6DE396-D3BA-4EDE-AE22-C1D6ACC886B5}">
      <dgm:prSet/>
      <dgm:spPr/>
      <dgm:t>
        <a:bodyPr/>
        <a:lstStyle/>
        <a:p>
          <a:endParaRPr lang="fr-FR"/>
        </a:p>
      </dgm:t>
    </dgm:pt>
    <dgm:pt modelId="{DE160B99-4D51-4B35-AE1E-BC081FD59A1F}">
      <dgm:prSet phldrT="[Texte]" custT="1"/>
      <dgm:spPr>
        <a:solidFill>
          <a:schemeClr val="bg2"/>
        </a:solidFill>
      </dgm:spPr>
      <dgm:t>
        <a:bodyPr/>
        <a:lstStyle/>
        <a:p>
          <a:pPr>
            <a:buNone/>
          </a:pPr>
          <a:r>
            <a:rPr lang="fr-FR" sz="2000" dirty="0"/>
            <a:t>Présentation</a:t>
          </a:r>
        </a:p>
      </dgm:t>
    </dgm:pt>
    <dgm:pt modelId="{826A75B5-C3F5-49AD-9E59-7277171B8FD8}" type="parTrans" cxnId="{D1D64F5B-99E8-4F5F-85BE-C5AB09BDE2B4}">
      <dgm:prSet/>
      <dgm:spPr/>
      <dgm:t>
        <a:bodyPr/>
        <a:lstStyle/>
        <a:p>
          <a:endParaRPr lang="fr-FR"/>
        </a:p>
      </dgm:t>
    </dgm:pt>
    <dgm:pt modelId="{BA081B2F-A5A7-43BB-9953-266BB5AC92BB}" type="sibTrans" cxnId="{D1D64F5B-99E8-4F5F-85BE-C5AB09BDE2B4}">
      <dgm:prSet/>
      <dgm:spPr/>
      <dgm:t>
        <a:bodyPr/>
        <a:lstStyle/>
        <a:p>
          <a:endParaRPr lang="fr-FR"/>
        </a:p>
      </dgm:t>
    </dgm:pt>
    <dgm:pt modelId="{AB88D617-051F-45A2-82C4-F6CF760FCF7F}" type="pres">
      <dgm:prSet presAssocID="{54645EFC-6F8A-4D03-A8FD-609D821996C8}" presName="linearFlow" presStyleCnt="0">
        <dgm:presLayoutVars>
          <dgm:dir/>
          <dgm:animLvl val="lvl"/>
          <dgm:resizeHandles val="exact"/>
        </dgm:presLayoutVars>
      </dgm:prSet>
      <dgm:spPr/>
    </dgm:pt>
    <dgm:pt modelId="{3546B967-8C61-4241-893D-14976DE7E895}" type="pres">
      <dgm:prSet presAssocID="{79E5C636-41E5-44C3-8DCA-6A93A83CF828}" presName="composite" presStyleCnt="0"/>
      <dgm:spPr/>
    </dgm:pt>
    <dgm:pt modelId="{323E2471-A156-4DC9-8851-05AC2637DF66}" type="pres">
      <dgm:prSet presAssocID="{79E5C636-41E5-44C3-8DCA-6A93A83CF828}" presName="parentText" presStyleLbl="alignNode1" presStyleIdx="0" presStyleCnt="1">
        <dgm:presLayoutVars>
          <dgm:chMax val="1"/>
          <dgm:bulletEnabled val="1"/>
        </dgm:presLayoutVars>
      </dgm:prSet>
      <dgm:spPr/>
    </dgm:pt>
    <dgm:pt modelId="{9A42A1D2-65BE-4750-A8EF-A90E13BD4DF5}" type="pres">
      <dgm:prSet presAssocID="{79E5C636-41E5-44C3-8DCA-6A93A83CF828}" presName="descendantText" presStyleLbl="alignAcc1" presStyleIdx="0" presStyleCnt="1" custScaleY="100000" custLinFactNeighborY="0">
        <dgm:presLayoutVars>
          <dgm:bulletEnabled val="1"/>
        </dgm:presLayoutVars>
      </dgm:prSet>
      <dgm:spPr/>
    </dgm:pt>
  </dgm:ptLst>
  <dgm:cxnLst>
    <dgm:cxn modelId="{A785972D-FDEA-4D9A-91F3-9F6C43A65880}" type="presOf" srcId="{79E5C636-41E5-44C3-8DCA-6A93A83CF828}" destId="{323E2471-A156-4DC9-8851-05AC2637DF66}" srcOrd="0" destOrd="0" presId="urn:microsoft.com/office/officeart/2005/8/layout/chevron2"/>
    <dgm:cxn modelId="{D1D64F5B-99E8-4F5F-85BE-C5AB09BDE2B4}" srcId="{79E5C636-41E5-44C3-8DCA-6A93A83CF828}" destId="{DE160B99-4D51-4B35-AE1E-BC081FD59A1F}" srcOrd="0" destOrd="0" parTransId="{826A75B5-C3F5-49AD-9E59-7277171B8FD8}" sibTransId="{BA081B2F-A5A7-43BB-9953-266BB5AC92BB}"/>
    <dgm:cxn modelId="{CC6DE396-D3BA-4EDE-AE22-C1D6ACC886B5}" srcId="{54645EFC-6F8A-4D03-A8FD-609D821996C8}" destId="{79E5C636-41E5-44C3-8DCA-6A93A83CF828}" srcOrd="0" destOrd="0" parTransId="{5AEE061D-CC34-4702-88BF-D799BDAF029A}" sibTransId="{E6FF0732-DDF0-410D-A45E-6386845BBA7B}"/>
    <dgm:cxn modelId="{5CA8B9B1-8CFB-42CC-A01E-AB41172EEBE4}" type="presOf" srcId="{DE160B99-4D51-4B35-AE1E-BC081FD59A1F}" destId="{9A42A1D2-65BE-4750-A8EF-A90E13BD4DF5}" srcOrd="0" destOrd="0" presId="urn:microsoft.com/office/officeart/2005/8/layout/chevron2"/>
    <dgm:cxn modelId="{36836EEF-806B-48C5-B710-B4A0A5B90EE7}" type="presOf" srcId="{54645EFC-6F8A-4D03-A8FD-609D821996C8}" destId="{AB88D617-051F-45A2-82C4-F6CF760FCF7F}" srcOrd="0" destOrd="0" presId="urn:microsoft.com/office/officeart/2005/8/layout/chevron2"/>
    <dgm:cxn modelId="{8CD8DB9D-6D81-41F0-AEE0-07356B736914}" type="presParOf" srcId="{AB88D617-051F-45A2-82C4-F6CF760FCF7F}" destId="{3546B967-8C61-4241-893D-14976DE7E895}" srcOrd="0" destOrd="0" presId="urn:microsoft.com/office/officeart/2005/8/layout/chevron2"/>
    <dgm:cxn modelId="{18410905-0696-42E8-B1D5-E3B9573D2EA3}" type="presParOf" srcId="{3546B967-8C61-4241-893D-14976DE7E895}" destId="{323E2471-A156-4DC9-8851-05AC2637DF66}" srcOrd="0" destOrd="0" presId="urn:microsoft.com/office/officeart/2005/8/layout/chevron2"/>
    <dgm:cxn modelId="{83D477CD-0682-4781-B343-347EC0057626}" type="presParOf" srcId="{3546B967-8C61-4241-893D-14976DE7E895}" destId="{9A42A1D2-65BE-4750-A8EF-A90E13BD4DF5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25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E24960B4-38DA-4BA1-BC73-F97FB3000306}" type="doc">
      <dgm:prSet loTypeId="urn:microsoft.com/office/officeart/2005/8/layout/chart3" loCatId="relationship" qsTypeId="urn:microsoft.com/office/officeart/2005/8/quickstyle/simple1" qsCatId="simple" csTypeId="urn:microsoft.com/office/officeart/2005/8/colors/accent1_2" csCatId="accent1" phldr="1"/>
      <dgm:spPr/>
    </dgm:pt>
    <dgm:pt modelId="{2BB99742-305D-4786-845C-862223F2020B}">
      <dgm:prSet phldrT="[Texte]"/>
      <dgm:spPr>
        <a:noFill/>
        <a:ln w="57150">
          <a:solidFill>
            <a:srgbClr val="F68D42">
              <a:alpha val="50196"/>
            </a:srgbClr>
          </a:solidFill>
        </a:ln>
      </dgm:spPr>
      <dgm:t>
        <a:bodyPr/>
        <a:lstStyle/>
        <a:p>
          <a:r>
            <a:rPr lang="fr-FR" dirty="0">
              <a:solidFill>
                <a:schemeClr val="accent1"/>
              </a:solidFill>
            </a:rPr>
            <a:t>Drôle</a:t>
          </a:r>
        </a:p>
      </dgm:t>
    </dgm:pt>
    <dgm:pt modelId="{6DDC3CBE-44A9-445F-B613-D30CCA89E9EF}" type="parTrans" cxnId="{7B8A636B-F42F-4FDE-BE14-8EDF597A333B}">
      <dgm:prSet/>
      <dgm:spPr/>
      <dgm:t>
        <a:bodyPr/>
        <a:lstStyle/>
        <a:p>
          <a:endParaRPr lang="fr-FR"/>
        </a:p>
      </dgm:t>
    </dgm:pt>
    <dgm:pt modelId="{8B350202-922D-4DA3-8E01-DFBF82B0AEC2}" type="sibTrans" cxnId="{7B8A636B-F42F-4FDE-BE14-8EDF597A333B}">
      <dgm:prSet/>
      <dgm:spPr/>
      <dgm:t>
        <a:bodyPr/>
        <a:lstStyle/>
        <a:p>
          <a:endParaRPr lang="fr-FR"/>
        </a:p>
      </dgm:t>
    </dgm:pt>
    <dgm:pt modelId="{6EDF8826-62B2-4558-9A30-1FA6D93A514B}">
      <dgm:prSet phldrT="[Texte]"/>
      <dgm:spPr>
        <a:noFill/>
        <a:ln w="57150">
          <a:solidFill>
            <a:schemeClr val="accent1"/>
          </a:solidFill>
        </a:ln>
      </dgm:spPr>
      <dgm:t>
        <a:bodyPr/>
        <a:lstStyle/>
        <a:p>
          <a:r>
            <a:rPr lang="fr-FR" dirty="0">
              <a:solidFill>
                <a:schemeClr val="accent1"/>
              </a:solidFill>
            </a:rPr>
            <a:t>Faisable</a:t>
          </a:r>
        </a:p>
      </dgm:t>
    </dgm:pt>
    <dgm:pt modelId="{AEA39FB6-7956-4714-8A8E-A81595131B2B}" type="parTrans" cxnId="{92ACBF6E-86FC-4CCE-8E70-5A0E3B475B34}">
      <dgm:prSet/>
      <dgm:spPr/>
      <dgm:t>
        <a:bodyPr/>
        <a:lstStyle/>
        <a:p>
          <a:endParaRPr lang="fr-FR"/>
        </a:p>
      </dgm:t>
    </dgm:pt>
    <dgm:pt modelId="{84BA149D-FE84-445D-9FC6-5B3A204A88AB}" type="sibTrans" cxnId="{92ACBF6E-86FC-4CCE-8E70-5A0E3B475B34}">
      <dgm:prSet/>
      <dgm:spPr/>
      <dgm:t>
        <a:bodyPr/>
        <a:lstStyle/>
        <a:p>
          <a:endParaRPr lang="fr-FR"/>
        </a:p>
      </dgm:t>
    </dgm:pt>
    <dgm:pt modelId="{7CD5328D-760D-4749-A094-D87EA6597CD6}">
      <dgm:prSet phldrT="[Texte]"/>
      <dgm:spPr>
        <a:noFill/>
        <a:ln w="57150">
          <a:solidFill>
            <a:schemeClr val="accent1"/>
          </a:solidFill>
        </a:ln>
      </dgm:spPr>
      <dgm:t>
        <a:bodyPr/>
        <a:lstStyle/>
        <a:p>
          <a:r>
            <a:rPr lang="fr-FR" dirty="0">
              <a:solidFill>
                <a:schemeClr val="accent1"/>
              </a:solidFill>
            </a:rPr>
            <a:t>Fun</a:t>
          </a:r>
        </a:p>
      </dgm:t>
    </dgm:pt>
    <dgm:pt modelId="{7FC07090-F841-4C59-9A98-AE66560949D5}" type="parTrans" cxnId="{0401B172-7F4D-4385-8FBB-968963CF82C2}">
      <dgm:prSet/>
      <dgm:spPr/>
      <dgm:t>
        <a:bodyPr/>
        <a:lstStyle/>
        <a:p>
          <a:endParaRPr lang="fr-FR"/>
        </a:p>
      </dgm:t>
    </dgm:pt>
    <dgm:pt modelId="{DB2BEF3B-E98F-449A-B02A-5AE24B186F73}" type="sibTrans" cxnId="{0401B172-7F4D-4385-8FBB-968963CF82C2}">
      <dgm:prSet/>
      <dgm:spPr/>
      <dgm:t>
        <a:bodyPr/>
        <a:lstStyle/>
        <a:p>
          <a:endParaRPr lang="fr-FR"/>
        </a:p>
      </dgm:t>
    </dgm:pt>
    <dgm:pt modelId="{F0E891A8-CABB-4B7E-949B-889B8900711E}" type="pres">
      <dgm:prSet presAssocID="{E24960B4-38DA-4BA1-BC73-F97FB3000306}" presName="compositeShape" presStyleCnt="0">
        <dgm:presLayoutVars>
          <dgm:chMax val="7"/>
          <dgm:dir/>
          <dgm:resizeHandles val="exact"/>
        </dgm:presLayoutVars>
      </dgm:prSet>
      <dgm:spPr/>
    </dgm:pt>
    <dgm:pt modelId="{3E244D60-F7E9-415A-B58D-525A5EF3AB4D}" type="pres">
      <dgm:prSet presAssocID="{E24960B4-38DA-4BA1-BC73-F97FB3000306}" presName="wedge1" presStyleLbl="node1" presStyleIdx="0" presStyleCnt="3"/>
      <dgm:spPr/>
    </dgm:pt>
    <dgm:pt modelId="{9A925198-A257-4EDC-A123-1E7F2F6ECFBA}" type="pres">
      <dgm:prSet presAssocID="{E24960B4-38DA-4BA1-BC73-F97FB3000306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5E8E8593-D22D-4A86-AEC5-6F821B22E90F}" type="pres">
      <dgm:prSet presAssocID="{E24960B4-38DA-4BA1-BC73-F97FB3000306}" presName="wedge2" presStyleLbl="node1" presStyleIdx="1" presStyleCnt="3"/>
      <dgm:spPr/>
    </dgm:pt>
    <dgm:pt modelId="{BDFED687-F791-48E2-ACCD-F2996932EA79}" type="pres">
      <dgm:prSet presAssocID="{E24960B4-38DA-4BA1-BC73-F97FB3000306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4ED27B6F-51B1-4C01-B85D-E0E1FE189D85}" type="pres">
      <dgm:prSet presAssocID="{E24960B4-38DA-4BA1-BC73-F97FB3000306}" presName="wedge3" presStyleLbl="node1" presStyleIdx="2" presStyleCnt="3"/>
      <dgm:spPr/>
    </dgm:pt>
    <dgm:pt modelId="{35974407-9444-4169-889E-9E11454423A5}" type="pres">
      <dgm:prSet presAssocID="{E24960B4-38DA-4BA1-BC73-F97FB3000306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90B3B203-600D-4973-A346-0CDF89BCE72B}" type="presOf" srcId="{2BB99742-305D-4786-845C-862223F2020B}" destId="{3E244D60-F7E9-415A-B58D-525A5EF3AB4D}" srcOrd="0" destOrd="0" presId="urn:microsoft.com/office/officeart/2005/8/layout/chart3"/>
    <dgm:cxn modelId="{2FDE0409-4FAE-4A26-9772-545A64EC0FF6}" type="presOf" srcId="{7CD5328D-760D-4749-A094-D87EA6597CD6}" destId="{35974407-9444-4169-889E-9E11454423A5}" srcOrd="1" destOrd="0" presId="urn:microsoft.com/office/officeart/2005/8/layout/chart3"/>
    <dgm:cxn modelId="{06606E45-1789-4A4D-BAE6-1E9D7C6CA90B}" type="presOf" srcId="{7CD5328D-760D-4749-A094-D87EA6597CD6}" destId="{4ED27B6F-51B1-4C01-B85D-E0E1FE189D85}" srcOrd="0" destOrd="0" presId="urn:microsoft.com/office/officeart/2005/8/layout/chart3"/>
    <dgm:cxn modelId="{7B8A636B-F42F-4FDE-BE14-8EDF597A333B}" srcId="{E24960B4-38DA-4BA1-BC73-F97FB3000306}" destId="{2BB99742-305D-4786-845C-862223F2020B}" srcOrd="0" destOrd="0" parTransId="{6DDC3CBE-44A9-445F-B613-D30CCA89E9EF}" sibTransId="{8B350202-922D-4DA3-8E01-DFBF82B0AEC2}"/>
    <dgm:cxn modelId="{92ACBF6E-86FC-4CCE-8E70-5A0E3B475B34}" srcId="{E24960B4-38DA-4BA1-BC73-F97FB3000306}" destId="{6EDF8826-62B2-4558-9A30-1FA6D93A514B}" srcOrd="1" destOrd="0" parTransId="{AEA39FB6-7956-4714-8A8E-A81595131B2B}" sibTransId="{84BA149D-FE84-445D-9FC6-5B3A204A88AB}"/>
    <dgm:cxn modelId="{0401B172-7F4D-4385-8FBB-968963CF82C2}" srcId="{E24960B4-38DA-4BA1-BC73-F97FB3000306}" destId="{7CD5328D-760D-4749-A094-D87EA6597CD6}" srcOrd="2" destOrd="0" parTransId="{7FC07090-F841-4C59-9A98-AE66560949D5}" sibTransId="{DB2BEF3B-E98F-449A-B02A-5AE24B186F73}"/>
    <dgm:cxn modelId="{CAFD6F76-1181-4335-BA9D-528ADE771BE6}" type="presOf" srcId="{6EDF8826-62B2-4558-9A30-1FA6D93A514B}" destId="{BDFED687-F791-48E2-ACCD-F2996932EA79}" srcOrd="1" destOrd="0" presId="urn:microsoft.com/office/officeart/2005/8/layout/chart3"/>
    <dgm:cxn modelId="{2B5354A2-E935-4859-AA2C-88181EE06B40}" type="presOf" srcId="{E24960B4-38DA-4BA1-BC73-F97FB3000306}" destId="{F0E891A8-CABB-4B7E-949B-889B8900711E}" srcOrd="0" destOrd="0" presId="urn:microsoft.com/office/officeart/2005/8/layout/chart3"/>
    <dgm:cxn modelId="{F2D4B6BE-9FA3-4017-BFB1-FFC67B58203B}" type="presOf" srcId="{2BB99742-305D-4786-845C-862223F2020B}" destId="{9A925198-A257-4EDC-A123-1E7F2F6ECFBA}" srcOrd="1" destOrd="0" presId="urn:microsoft.com/office/officeart/2005/8/layout/chart3"/>
    <dgm:cxn modelId="{2F0768D8-1126-4A68-BBDF-3549C2FC23F7}" type="presOf" srcId="{6EDF8826-62B2-4558-9A30-1FA6D93A514B}" destId="{5E8E8593-D22D-4A86-AEC5-6F821B22E90F}" srcOrd="0" destOrd="0" presId="urn:microsoft.com/office/officeart/2005/8/layout/chart3"/>
    <dgm:cxn modelId="{31867709-9563-425A-AB62-D2921EE07D97}" type="presParOf" srcId="{F0E891A8-CABB-4B7E-949B-889B8900711E}" destId="{3E244D60-F7E9-415A-B58D-525A5EF3AB4D}" srcOrd="0" destOrd="0" presId="urn:microsoft.com/office/officeart/2005/8/layout/chart3"/>
    <dgm:cxn modelId="{F40C0CA6-A21C-40F2-8D57-27166B2D3DA9}" type="presParOf" srcId="{F0E891A8-CABB-4B7E-949B-889B8900711E}" destId="{9A925198-A257-4EDC-A123-1E7F2F6ECFBA}" srcOrd="1" destOrd="0" presId="urn:microsoft.com/office/officeart/2005/8/layout/chart3"/>
    <dgm:cxn modelId="{598642E0-81AD-4EF9-97F9-5488148B3ABA}" type="presParOf" srcId="{F0E891A8-CABB-4B7E-949B-889B8900711E}" destId="{5E8E8593-D22D-4A86-AEC5-6F821B22E90F}" srcOrd="2" destOrd="0" presId="urn:microsoft.com/office/officeart/2005/8/layout/chart3"/>
    <dgm:cxn modelId="{CFA4C213-B3C7-4810-B845-273CFAB898C8}" type="presParOf" srcId="{F0E891A8-CABB-4B7E-949B-889B8900711E}" destId="{BDFED687-F791-48E2-ACCD-F2996932EA79}" srcOrd="3" destOrd="0" presId="urn:microsoft.com/office/officeart/2005/8/layout/chart3"/>
    <dgm:cxn modelId="{64C650DD-66A2-47D0-A7B2-D48EA599993D}" type="presParOf" srcId="{F0E891A8-CABB-4B7E-949B-889B8900711E}" destId="{4ED27B6F-51B1-4C01-B85D-E0E1FE189D85}" srcOrd="4" destOrd="0" presId="urn:microsoft.com/office/officeart/2005/8/layout/chart3"/>
    <dgm:cxn modelId="{19FC9D8C-BB35-45D2-8096-637437D511A4}" type="presParOf" srcId="{F0E891A8-CABB-4B7E-949B-889B8900711E}" destId="{35974407-9444-4169-889E-9E11454423A5}" srcOrd="5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3E2471-A156-4DC9-8851-05AC2637DF66}">
      <dsp:nvSpPr>
        <dsp:cNvPr id="0" name=""/>
        <dsp:cNvSpPr/>
      </dsp:nvSpPr>
      <dsp:spPr>
        <a:xfrm rot="5400000">
          <a:off x="-183063" y="184257"/>
          <a:ext cx="1220423" cy="85429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fr-FR" sz="1000" kern="1200" dirty="0"/>
          </a:br>
          <a:r>
            <a:rPr lang="fr-FR" sz="2400" kern="1200" dirty="0"/>
            <a:t>04/10</a:t>
          </a:r>
          <a:br>
            <a:rPr lang="fr-FR" sz="2000" kern="1200" dirty="0"/>
          </a:br>
          <a:r>
            <a:rPr lang="fr-FR" sz="1400" kern="1200" dirty="0"/>
            <a:t>AM</a:t>
          </a:r>
        </a:p>
      </dsp:txBody>
      <dsp:txXfrm rot="-5400000">
        <a:off x="1" y="428341"/>
        <a:ext cx="854296" cy="366127"/>
      </dsp:txXfrm>
    </dsp:sp>
    <dsp:sp modelId="{9A42A1D2-65BE-4750-A8EF-A90E13BD4DF5}">
      <dsp:nvSpPr>
        <dsp:cNvPr id="0" name=""/>
        <dsp:cNvSpPr/>
      </dsp:nvSpPr>
      <dsp:spPr>
        <a:xfrm rot="5400000">
          <a:off x="1494180" y="-638690"/>
          <a:ext cx="793692" cy="2073460"/>
        </a:xfrm>
        <a:prstGeom prst="round2SameRect">
          <a:avLst/>
        </a:prstGeom>
        <a:solidFill>
          <a:schemeClr val="bg2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fr-FR" sz="2000" kern="1200" dirty="0"/>
            <a:t>Maquette papier</a:t>
          </a:r>
        </a:p>
      </dsp:txBody>
      <dsp:txXfrm rot="-5400000">
        <a:off x="854297" y="39938"/>
        <a:ext cx="2034715" cy="716202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244D60-F7E9-415A-B58D-525A5EF3AB4D}">
      <dsp:nvSpPr>
        <dsp:cNvPr id="0" name=""/>
        <dsp:cNvSpPr/>
      </dsp:nvSpPr>
      <dsp:spPr>
        <a:xfrm>
          <a:off x="1500087" y="260023"/>
          <a:ext cx="3655567" cy="3655567"/>
        </a:xfrm>
        <a:prstGeom prst="pie">
          <a:avLst>
            <a:gd name="adj1" fmla="val 16200000"/>
            <a:gd name="adj2" fmla="val 20520000"/>
          </a:avLst>
        </a:prstGeom>
        <a:noFill/>
        <a:ln w="57150" cap="flat" cmpd="sng" algn="ctr">
          <a:solidFill>
            <a:srgbClr val="F68D42">
              <a:alpha val="50196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>
              <a:solidFill>
                <a:schemeClr val="accent1"/>
              </a:solidFill>
            </a:rPr>
            <a:t>Drôle</a:t>
          </a:r>
        </a:p>
      </dsp:txBody>
      <dsp:txXfrm>
        <a:off x="3374001" y="806183"/>
        <a:ext cx="1240281" cy="848613"/>
      </dsp:txXfrm>
    </dsp:sp>
    <dsp:sp modelId="{5E8E8593-D22D-4A86-AEC5-6F821B22E90F}">
      <dsp:nvSpPr>
        <dsp:cNvPr id="0" name=""/>
        <dsp:cNvSpPr/>
      </dsp:nvSpPr>
      <dsp:spPr>
        <a:xfrm>
          <a:off x="1372142" y="436274"/>
          <a:ext cx="3655567" cy="3655567"/>
        </a:xfrm>
        <a:prstGeom prst="pie">
          <a:avLst>
            <a:gd name="adj1" fmla="val 20520000"/>
            <a:gd name="adj2" fmla="val 3240000"/>
          </a:avLst>
        </a:prstGeom>
        <a:noFill/>
        <a:ln w="571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>
              <a:solidFill>
                <a:schemeClr val="accent1"/>
              </a:solidFill>
            </a:rPr>
            <a:t>Version physique</a:t>
          </a:r>
        </a:p>
      </dsp:txBody>
      <dsp:txXfrm>
        <a:off x="3761317" y="2089983"/>
        <a:ext cx="1087966" cy="918243"/>
      </dsp:txXfrm>
    </dsp:sp>
    <dsp:sp modelId="{4ED27B6F-51B1-4C01-B85D-E0E1FE189D85}">
      <dsp:nvSpPr>
        <dsp:cNvPr id="0" name=""/>
        <dsp:cNvSpPr/>
      </dsp:nvSpPr>
      <dsp:spPr>
        <a:xfrm>
          <a:off x="1372142" y="436274"/>
          <a:ext cx="3655567" cy="3655567"/>
        </a:xfrm>
        <a:prstGeom prst="pie">
          <a:avLst>
            <a:gd name="adj1" fmla="val 3240000"/>
            <a:gd name="adj2" fmla="val 7560000"/>
          </a:avLst>
        </a:prstGeom>
        <a:noFill/>
        <a:ln w="571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>
              <a:solidFill>
                <a:schemeClr val="accent1"/>
              </a:solidFill>
            </a:rPr>
            <a:t>1 niveau</a:t>
          </a:r>
        </a:p>
      </dsp:txBody>
      <dsp:txXfrm>
        <a:off x="2547146" y="3177950"/>
        <a:ext cx="1305559" cy="783335"/>
      </dsp:txXfrm>
    </dsp:sp>
    <dsp:sp modelId="{7C2D80E4-7993-44C4-B459-04C720A675FE}">
      <dsp:nvSpPr>
        <dsp:cNvPr id="0" name=""/>
        <dsp:cNvSpPr/>
      </dsp:nvSpPr>
      <dsp:spPr>
        <a:xfrm>
          <a:off x="1372142" y="436274"/>
          <a:ext cx="3655567" cy="3655567"/>
        </a:xfrm>
        <a:prstGeom prst="pie">
          <a:avLst>
            <a:gd name="adj1" fmla="val 7560000"/>
            <a:gd name="adj2" fmla="val 11880000"/>
          </a:avLst>
        </a:prstGeom>
        <a:noFill/>
        <a:ln w="571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>
              <a:solidFill>
                <a:schemeClr val="accent1"/>
              </a:solidFill>
            </a:rPr>
            <a:t>1 input</a:t>
          </a:r>
        </a:p>
      </dsp:txBody>
      <dsp:txXfrm>
        <a:off x="1546217" y="2089983"/>
        <a:ext cx="1087966" cy="918243"/>
      </dsp:txXfrm>
    </dsp:sp>
    <dsp:sp modelId="{3C6FEE32-4E2E-4732-8F80-5CB19688936D}">
      <dsp:nvSpPr>
        <dsp:cNvPr id="0" name=""/>
        <dsp:cNvSpPr/>
      </dsp:nvSpPr>
      <dsp:spPr>
        <a:xfrm>
          <a:off x="1372142" y="436274"/>
          <a:ext cx="3655567" cy="3655567"/>
        </a:xfrm>
        <a:prstGeom prst="pie">
          <a:avLst>
            <a:gd name="adj1" fmla="val 11880000"/>
            <a:gd name="adj2" fmla="val 16200000"/>
          </a:avLst>
        </a:prstGeom>
        <a:noFill/>
        <a:ln w="571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>
              <a:solidFill>
                <a:schemeClr val="accent1"/>
              </a:solidFill>
            </a:rPr>
            <a:t>Fun</a:t>
          </a:r>
        </a:p>
      </dsp:txBody>
      <dsp:txXfrm>
        <a:off x="1905246" y="993313"/>
        <a:ext cx="1240281" cy="84861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3E2471-A156-4DC9-8851-05AC2637DF66}">
      <dsp:nvSpPr>
        <dsp:cNvPr id="0" name=""/>
        <dsp:cNvSpPr/>
      </dsp:nvSpPr>
      <dsp:spPr>
        <a:xfrm rot="5400000">
          <a:off x="-183063" y="184257"/>
          <a:ext cx="1220423" cy="85429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fr-FR" sz="1000" kern="1200" dirty="0"/>
          </a:br>
          <a:r>
            <a:rPr lang="fr-FR" sz="2400" kern="1200" dirty="0"/>
            <a:t>04/10</a:t>
          </a:r>
          <a:br>
            <a:rPr lang="fr-FR" sz="2000" kern="1200" dirty="0"/>
          </a:br>
          <a:r>
            <a:rPr lang="fr-FR" sz="1400" kern="1200" dirty="0"/>
            <a:t>PM</a:t>
          </a:r>
        </a:p>
      </dsp:txBody>
      <dsp:txXfrm rot="-5400000">
        <a:off x="1" y="428341"/>
        <a:ext cx="854296" cy="366127"/>
      </dsp:txXfrm>
    </dsp:sp>
    <dsp:sp modelId="{9A42A1D2-65BE-4750-A8EF-A90E13BD4DF5}">
      <dsp:nvSpPr>
        <dsp:cNvPr id="0" name=""/>
        <dsp:cNvSpPr/>
      </dsp:nvSpPr>
      <dsp:spPr>
        <a:xfrm rot="5400000">
          <a:off x="1494180" y="-638690"/>
          <a:ext cx="793692" cy="2073460"/>
        </a:xfrm>
        <a:prstGeom prst="round2SameRect">
          <a:avLst/>
        </a:prstGeom>
        <a:solidFill>
          <a:schemeClr val="bg2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fr-FR" sz="2000" kern="1200" dirty="0"/>
            <a:t>Jeu vidéo</a:t>
          </a:r>
        </a:p>
      </dsp:txBody>
      <dsp:txXfrm rot="-5400000">
        <a:off x="854297" y="39938"/>
        <a:ext cx="2034715" cy="71620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3E2471-A156-4DC9-8851-05AC2637DF66}">
      <dsp:nvSpPr>
        <dsp:cNvPr id="0" name=""/>
        <dsp:cNvSpPr/>
      </dsp:nvSpPr>
      <dsp:spPr>
        <a:xfrm rot="5400000">
          <a:off x="-183063" y="184257"/>
          <a:ext cx="1220423" cy="85429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fr-FR" sz="1000" kern="1200" dirty="0"/>
          </a:br>
          <a:r>
            <a:rPr lang="fr-FR" sz="2400" kern="1200" dirty="0"/>
            <a:t>03/10</a:t>
          </a:r>
          <a:br>
            <a:rPr lang="fr-FR" sz="2000" kern="1200" dirty="0"/>
          </a:br>
          <a:r>
            <a:rPr lang="fr-FR" sz="1400" kern="1200" dirty="0"/>
            <a:t>PM</a:t>
          </a:r>
        </a:p>
      </dsp:txBody>
      <dsp:txXfrm rot="-5400000">
        <a:off x="1" y="428341"/>
        <a:ext cx="854296" cy="366127"/>
      </dsp:txXfrm>
    </dsp:sp>
    <dsp:sp modelId="{9A42A1D2-65BE-4750-A8EF-A90E13BD4DF5}">
      <dsp:nvSpPr>
        <dsp:cNvPr id="0" name=""/>
        <dsp:cNvSpPr/>
      </dsp:nvSpPr>
      <dsp:spPr>
        <a:xfrm rot="5400000">
          <a:off x="1494180" y="-638690"/>
          <a:ext cx="793692" cy="2073460"/>
        </a:xfrm>
        <a:prstGeom prst="round2SameRect">
          <a:avLst/>
        </a:prstGeom>
        <a:solidFill>
          <a:schemeClr val="bg2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fr-FR" sz="2000" kern="1200" dirty="0"/>
            <a:t>Conception</a:t>
          </a:r>
        </a:p>
      </dsp:txBody>
      <dsp:txXfrm rot="-5400000">
        <a:off x="854297" y="39938"/>
        <a:ext cx="2034715" cy="71620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3E2471-A156-4DC9-8851-05AC2637DF66}">
      <dsp:nvSpPr>
        <dsp:cNvPr id="0" name=""/>
        <dsp:cNvSpPr/>
      </dsp:nvSpPr>
      <dsp:spPr>
        <a:xfrm rot="5400000">
          <a:off x="-183063" y="184257"/>
          <a:ext cx="1220423" cy="85429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fr-FR" sz="1000" kern="1200" dirty="0"/>
          </a:br>
          <a:r>
            <a:rPr lang="fr-FR" sz="2400" kern="1200" dirty="0"/>
            <a:t>10/10</a:t>
          </a:r>
          <a:br>
            <a:rPr lang="fr-FR" sz="2000" kern="1200" dirty="0"/>
          </a:br>
          <a:endParaRPr lang="fr-FR" sz="1400" kern="1200" dirty="0"/>
        </a:p>
      </dsp:txBody>
      <dsp:txXfrm rot="-5400000">
        <a:off x="1" y="428341"/>
        <a:ext cx="854296" cy="366127"/>
      </dsp:txXfrm>
    </dsp:sp>
    <dsp:sp modelId="{9A42A1D2-65BE-4750-A8EF-A90E13BD4DF5}">
      <dsp:nvSpPr>
        <dsp:cNvPr id="0" name=""/>
        <dsp:cNvSpPr/>
      </dsp:nvSpPr>
      <dsp:spPr>
        <a:xfrm rot="5400000">
          <a:off x="1494180" y="-638690"/>
          <a:ext cx="793692" cy="2073460"/>
        </a:xfrm>
        <a:prstGeom prst="round2SameRect">
          <a:avLst/>
        </a:prstGeom>
        <a:solidFill>
          <a:schemeClr val="bg2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fr-FR" sz="2000" kern="1200" dirty="0"/>
            <a:t>Présentation</a:t>
          </a:r>
        </a:p>
      </dsp:txBody>
      <dsp:txXfrm rot="-5400000">
        <a:off x="854297" y="39938"/>
        <a:ext cx="2034715" cy="71620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3E2471-A156-4DC9-8851-05AC2637DF66}">
      <dsp:nvSpPr>
        <dsp:cNvPr id="0" name=""/>
        <dsp:cNvSpPr/>
      </dsp:nvSpPr>
      <dsp:spPr>
        <a:xfrm rot="5400000">
          <a:off x="-183063" y="184257"/>
          <a:ext cx="1220423" cy="85429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fr-FR" sz="1000" kern="1200" dirty="0"/>
          </a:br>
          <a:r>
            <a:rPr lang="fr-FR" sz="2400" kern="1200" dirty="0"/>
            <a:t>03/10</a:t>
          </a:r>
          <a:br>
            <a:rPr lang="fr-FR" sz="2000" kern="1200" dirty="0"/>
          </a:br>
          <a:r>
            <a:rPr lang="fr-FR" sz="1400" kern="1200" dirty="0"/>
            <a:t>PM</a:t>
          </a:r>
        </a:p>
      </dsp:txBody>
      <dsp:txXfrm rot="-5400000">
        <a:off x="1" y="428341"/>
        <a:ext cx="854296" cy="366127"/>
      </dsp:txXfrm>
    </dsp:sp>
    <dsp:sp modelId="{9A42A1D2-65BE-4750-A8EF-A90E13BD4DF5}">
      <dsp:nvSpPr>
        <dsp:cNvPr id="0" name=""/>
        <dsp:cNvSpPr/>
      </dsp:nvSpPr>
      <dsp:spPr>
        <a:xfrm rot="5400000">
          <a:off x="1494180" y="-638690"/>
          <a:ext cx="793692" cy="2073460"/>
        </a:xfrm>
        <a:prstGeom prst="round2SameRect">
          <a:avLst/>
        </a:prstGeom>
        <a:solidFill>
          <a:schemeClr val="bg2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fr-FR" sz="2000" kern="1200" dirty="0"/>
            <a:t>Conception</a:t>
          </a:r>
        </a:p>
      </dsp:txBody>
      <dsp:txXfrm rot="-5400000">
        <a:off x="854297" y="39938"/>
        <a:ext cx="2034715" cy="71620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3E2471-A156-4DC9-8851-05AC2637DF66}">
      <dsp:nvSpPr>
        <dsp:cNvPr id="0" name=""/>
        <dsp:cNvSpPr/>
      </dsp:nvSpPr>
      <dsp:spPr>
        <a:xfrm rot="5400000">
          <a:off x="-183063" y="184257"/>
          <a:ext cx="1220423" cy="85429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fr-FR" sz="1000" kern="1200" dirty="0"/>
          </a:br>
          <a:r>
            <a:rPr lang="fr-FR" sz="2400" kern="1200" dirty="0"/>
            <a:t>04/10</a:t>
          </a:r>
          <a:br>
            <a:rPr lang="fr-FR" sz="2000" kern="1200" dirty="0"/>
          </a:br>
          <a:r>
            <a:rPr lang="fr-FR" sz="1400" kern="1200" dirty="0"/>
            <a:t>AM</a:t>
          </a:r>
        </a:p>
      </dsp:txBody>
      <dsp:txXfrm rot="-5400000">
        <a:off x="1" y="428341"/>
        <a:ext cx="854296" cy="366127"/>
      </dsp:txXfrm>
    </dsp:sp>
    <dsp:sp modelId="{9A42A1D2-65BE-4750-A8EF-A90E13BD4DF5}">
      <dsp:nvSpPr>
        <dsp:cNvPr id="0" name=""/>
        <dsp:cNvSpPr/>
      </dsp:nvSpPr>
      <dsp:spPr>
        <a:xfrm rot="5400000">
          <a:off x="1494180" y="-638690"/>
          <a:ext cx="793692" cy="2073460"/>
        </a:xfrm>
        <a:prstGeom prst="round2SameRect">
          <a:avLst/>
        </a:prstGeom>
        <a:solidFill>
          <a:schemeClr val="bg2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fr-FR" sz="2000" kern="1200" dirty="0"/>
            <a:t>Maquette papier</a:t>
          </a:r>
        </a:p>
      </dsp:txBody>
      <dsp:txXfrm rot="-5400000">
        <a:off x="854297" y="39938"/>
        <a:ext cx="2034715" cy="71620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3E2471-A156-4DC9-8851-05AC2637DF66}">
      <dsp:nvSpPr>
        <dsp:cNvPr id="0" name=""/>
        <dsp:cNvSpPr/>
      </dsp:nvSpPr>
      <dsp:spPr>
        <a:xfrm rot="5400000">
          <a:off x="-183063" y="184257"/>
          <a:ext cx="1220423" cy="85429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fr-FR" sz="1000" kern="1200" dirty="0"/>
          </a:br>
          <a:r>
            <a:rPr lang="fr-FR" sz="2400" kern="1200" dirty="0"/>
            <a:t>04/10</a:t>
          </a:r>
          <a:br>
            <a:rPr lang="fr-FR" sz="2000" kern="1200" dirty="0"/>
          </a:br>
          <a:r>
            <a:rPr lang="fr-FR" sz="1400" kern="1200" dirty="0"/>
            <a:t>PM</a:t>
          </a:r>
        </a:p>
      </dsp:txBody>
      <dsp:txXfrm rot="-5400000">
        <a:off x="1" y="428341"/>
        <a:ext cx="854296" cy="366127"/>
      </dsp:txXfrm>
    </dsp:sp>
    <dsp:sp modelId="{9A42A1D2-65BE-4750-A8EF-A90E13BD4DF5}">
      <dsp:nvSpPr>
        <dsp:cNvPr id="0" name=""/>
        <dsp:cNvSpPr/>
      </dsp:nvSpPr>
      <dsp:spPr>
        <a:xfrm rot="5400000">
          <a:off x="1494180" y="-638690"/>
          <a:ext cx="793692" cy="2073460"/>
        </a:xfrm>
        <a:prstGeom prst="round2SameRect">
          <a:avLst/>
        </a:prstGeom>
        <a:solidFill>
          <a:schemeClr val="bg2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fr-FR" sz="2000" kern="1200" dirty="0"/>
            <a:t>Jeu vidéo</a:t>
          </a:r>
        </a:p>
      </dsp:txBody>
      <dsp:txXfrm rot="-5400000">
        <a:off x="854297" y="39938"/>
        <a:ext cx="2034715" cy="71620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3E2471-A156-4DC9-8851-05AC2637DF66}">
      <dsp:nvSpPr>
        <dsp:cNvPr id="0" name=""/>
        <dsp:cNvSpPr/>
      </dsp:nvSpPr>
      <dsp:spPr>
        <a:xfrm rot="5400000">
          <a:off x="-183063" y="184257"/>
          <a:ext cx="1220423" cy="85429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fr-FR" sz="1000" kern="1200" dirty="0"/>
          </a:br>
          <a:r>
            <a:rPr lang="fr-FR" sz="2400" kern="1200" dirty="0"/>
            <a:t>10/10</a:t>
          </a:r>
          <a:br>
            <a:rPr lang="fr-FR" sz="2000" kern="1200" dirty="0"/>
          </a:br>
          <a:endParaRPr lang="fr-FR" sz="1400" kern="1200" dirty="0"/>
        </a:p>
      </dsp:txBody>
      <dsp:txXfrm rot="-5400000">
        <a:off x="1" y="428341"/>
        <a:ext cx="854296" cy="366127"/>
      </dsp:txXfrm>
    </dsp:sp>
    <dsp:sp modelId="{9A42A1D2-65BE-4750-A8EF-A90E13BD4DF5}">
      <dsp:nvSpPr>
        <dsp:cNvPr id="0" name=""/>
        <dsp:cNvSpPr/>
      </dsp:nvSpPr>
      <dsp:spPr>
        <a:xfrm rot="5400000">
          <a:off x="1494180" y="-638690"/>
          <a:ext cx="793692" cy="2073460"/>
        </a:xfrm>
        <a:prstGeom prst="round2SameRect">
          <a:avLst/>
        </a:prstGeom>
        <a:solidFill>
          <a:schemeClr val="bg2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fr-FR" sz="2000" kern="1200" dirty="0"/>
            <a:t>Présentation</a:t>
          </a:r>
        </a:p>
      </dsp:txBody>
      <dsp:txXfrm rot="-5400000">
        <a:off x="854297" y="39938"/>
        <a:ext cx="2034715" cy="716202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244D60-F7E9-415A-B58D-525A5EF3AB4D}">
      <dsp:nvSpPr>
        <dsp:cNvPr id="0" name=""/>
        <dsp:cNvSpPr/>
      </dsp:nvSpPr>
      <dsp:spPr>
        <a:xfrm>
          <a:off x="1530333" y="293750"/>
          <a:ext cx="3655567" cy="3655567"/>
        </a:xfrm>
        <a:prstGeom prst="pie">
          <a:avLst>
            <a:gd name="adj1" fmla="val 16200000"/>
            <a:gd name="adj2" fmla="val 1800000"/>
          </a:avLst>
        </a:prstGeom>
        <a:noFill/>
        <a:ln w="57150" cap="flat" cmpd="sng" algn="ctr">
          <a:solidFill>
            <a:srgbClr val="F68D42">
              <a:alpha val="50196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990" tIns="46990" rIns="46990" bIns="4699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700" kern="1200" dirty="0">
              <a:solidFill>
                <a:schemeClr val="accent1"/>
              </a:solidFill>
            </a:rPr>
            <a:t>Drôle</a:t>
          </a:r>
        </a:p>
      </dsp:txBody>
      <dsp:txXfrm>
        <a:off x="3517830" y="968290"/>
        <a:ext cx="1240281" cy="1218522"/>
      </dsp:txXfrm>
    </dsp:sp>
    <dsp:sp modelId="{5E8E8593-D22D-4A86-AEC5-6F821B22E90F}">
      <dsp:nvSpPr>
        <dsp:cNvPr id="0" name=""/>
        <dsp:cNvSpPr/>
      </dsp:nvSpPr>
      <dsp:spPr>
        <a:xfrm>
          <a:off x="1341897" y="402547"/>
          <a:ext cx="3655567" cy="3655567"/>
        </a:xfrm>
        <a:prstGeom prst="pie">
          <a:avLst>
            <a:gd name="adj1" fmla="val 1800000"/>
            <a:gd name="adj2" fmla="val 9000000"/>
          </a:avLst>
        </a:prstGeom>
        <a:noFill/>
        <a:ln w="571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990" tIns="46990" rIns="46990" bIns="4699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700" kern="1200" dirty="0">
              <a:solidFill>
                <a:schemeClr val="accent1"/>
              </a:solidFill>
            </a:rPr>
            <a:t>Faisable</a:t>
          </a:r>
        </a:p>
      </dsp:txBody>
      <dsp:txXfrm>
        <a:off x="2342826" y="2709036"/>
        <a:ext cx="1653709" cy="1131485"/>
      </dsp:txXfrm>
    </dsp:sp>
    <dsp:sp modelId="{4ED27B6F-51B1-4C01-B85D-E0E1FE189D85}">
      <dsp:nvSpPr>
        <dsp:cNvPr id="0" name=""/>
        <dsp:cNvSpPr/>
      </dsp:nvSpPr>
      <dsp:spPr>
        <a:xfrm>
          <a:off x="1341897" y="402547"/>
          <a:ext cx="3655567" cy="3655567"/>
        </a:xfrm>
        <a:prstGeom prst="pie">
          <a:avLst>
            <a:gd name="adj1" fmla="val 9000000"/>
            <a:gd name="adj2" fmla="val 16200000"/>
          </a:avLst>
        </a:prstGeom>
        <a:noFill/>
        <a:ln w="571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990" tIns="46990" rIns="46990" bIns="4699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700" kern="1200" dirty="0">
              <a:solidFill>
                <a:schemeClr val="accent1"/>
              </a:solidFill>
            </a:rPr>
            <a:t>Fun</a:t>
          </a:r>
        </a:p>
      </dsp:txBody>
      <dsp:txXfrm>
        <a:off x="1733565" y="1120605"/>
        <a:ext cx="1240281" cy="121852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8C807D6C-A48B-4BDA-B11B-8F287180819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17D8A443-4EDA-4AB0-A89A-5C381AE4D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DA711C-4720-4BAF-BE15-453166329D64}" type="datetimeFigureOut">
              <a:rPr lang="fr-FR" smtClean="0"/>
              <a:t>09/10/2019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21F06A5-F79C-4B30-956A-ACA72A9B714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81E151F7-1250-4BD5-83C8-96A2F2E6F25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B86F09-21D2-4130-B290-0B6FF33AD55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1076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E45E26-EE08-4C8E-B82A-375BB85C9E92}" type="datetimeFigureOut">
              <a:rPr lang="fr-FR" smtClean="0"/>
              <a:t>09/10/2019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F63EF3-8221-49E1-AE06-17FA0955C92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52268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Faisable =&gt; développé en nos objectifs (1 input, 1 niveau, adaptable version physique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F63EF3-8221-49E1-AE06-17FA0955C92C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2994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Contraintes GD (arrêt du temps, projectiles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F63EF3-8221-49E1-AE06-17FA0955C92C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48905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Contraintes GD (arrêt du temps, projectiles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F63EF3-8221-49E1-AE06-17FA0955C92C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50513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Démo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F63EF3-8221-49E1-AE06-17FA0955C92C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672428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Retard : organisation pas optimale (</a:t>
            </a:r>
            <a:r>
              <a:rPr lang="fr-FR" dirty="0" err="1"/>
              <a:t>install</a:t>
            </a:r>
            <a:r>
              <a:rPr lang="fr-FR" dirty="0"/>
              <a:t> Unreal =&gt; goulet d’étranglement sur une ressource)</a:t>
            </a:r>
          </a:p>
          <a:p>
            <a:r>
              <a:rPr lang="fr-FR" dirty="0"/>
              <a:t>Priorités : une ressource focus entièrement sur la vidéo qu’on n’a finalement pas pu intégrer</a:t>
            </a:r>
          </a:p>
          <a:p>
            <a:r>
              <a:rPr lang="fr-FR" dirty="0"/>
              <a:t>Difficultés : par ex la balle qui ne rebondit pas =&gt; adaptation du gameplay (sans obstacle, 1 ennemi, déplacé par un MJ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F63EF3-8221-49E1-AE06-17FA0955C92C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68819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Retard : organisation pas optimale (</a:t>
            </a:r>
            <a:r>
              <a:rPr lang="fr-FR" dirty="0" err="1"/>
              <a:t>install</a:t>
            </a:r>
            <a:r>
              <a:rPr lang="fr-FR" dirty="0"/>
              <a:t> Unreal =&gt; goulet d’étranglement sur une ressource)</a:t>
            </a:r>
          </a:p>
          <a:p>
            <a:r>
              <a:rPr lang="fr-FR" dirty="0"/>
              <a:t>Priorités : une ressource focus entièrement sur la vidéo qu’on n’a finalement pas pu intégrer</a:t>
            </a:r>
          </a:p>
          <a:p>
            <a:r>
              <a:rPr lang="fr-FR" dirty="0"/>
              <a:t>Difficultés : par ex la balle qui ne rebondit pas =&gt; adaptation du gameplay (sans obstacle, 1 ennemi, déplacé par un MJ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F63EF3-8221-49E1-AE06-17FA0955C92C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78380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Une image contenant posant, skiant, photo, homme&#10;&#10;Description générée automatiquement">
            <a:extLst>
              <a:ext uri="{FF2B5EF4-FFF2-40B4-BE49-F238E27FC236}">
                <a16:creationId xmlns:a16="http://schemas.microsoft.com/office/drawing/2014/main" id="{78E13E7B-BACC-451B-8E1F-F15D9A152E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9416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_contenu_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Une image contenant objet, horloge&#10;&#10;Description générée automatiquement">
            <a:extLst>
              <a:ext uri="{FF2B5EF4-FFF2-40B4-BE49-F238E27FC236}">
                <a16:creationId xmlns:a16="http://schemas.microsoft.com/office/drawing/2014/main" id="{8A9BB01B-95C5-40C0-AC5A-B6E7B794D8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" y="0"/>
            <a:ext cx="12189631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8C47C5E4-15F6-4CA1-BF12-596B7CAB7C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7650" y="365125"/>
            <a:ext cx="9118600" cy="1325563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  <a:latin typeface="VCR OSD Mono" panose="02000609000000000000" pitchFamily="49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9E8E346-9BA1-4584-BFBB-DF5727C40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2400" y="1825625"/>
            <a:ext cx="9782629" cy="3951061"/>
          </a:xfrm>
        </p:spPr>
        <p:txBody>
          <a:bodyPr/>
          <a:lstStyle>
            <a:lvl1pPr marL="361950" indent="-361950">
              <a:buFontTx/>
              <a:buBlip>
                <a:blip r:embed="rId3"/>
              </a:buBlip>
              <a:defRPr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809625" indent="-352425">
              <a:buFontTx/>
              <a:buBlip>
                <a:blip r:embed="rId3"/>
              </a:buBlip>
              <a:defRPr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1257300" indent="-342900">
              <a:buFontTx/>
              <a:buBlip>
                <a:blip r:embed="rId3"/>
              </a:buBlip>
              <a:defRPr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1704975" indent="-333375">
              <a:buFontTx/>
              <a:buBlip>
                <a:blip r:embed="rId3"/>
              </a:buBlip>
              <a:tabLst/>
              <a:defRPr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2152650" indent="-323850">
              <a:buFontTx/>
              <a:buBlip>
                <a:blip r:embed="rId3"/>
              </a:buBlip>
              <a:defRPr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DDEA46B-E4E9-4A99-84BB-F167EB692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7100" y="6492875"/>
            <a:ext cx="100965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VCR OSD Mono" panose="02000609000000000000" pitchFamily="49" charset="0"/>
              </a:defRPr>
            </a:lvl1pPr>
          </a:lstStyle>
          <a:p>
            <a:fld id="{82728B6E-D8EE-4008-A707-204515747455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659099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contenu_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Une image contenant objet, horloge&#10;&#10;Description générée automatiquement">
            <a:extLst>
              <a:ext uri="{FF2B5EF4-FFF2-40B4-BE49-F238E27FC236}">
                <a16:creationId xmlns:a16="http://schemas.microsoft.com/office/drawing/2014/main" id="{9F841B0E-DB00-4497-A93F-2F3D747532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" y="0"/>
            <a:ext cx="12189631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8C47C5E4-15F6-4CA1-BF12-596B7CAB7C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050" y="365125"/>
            <a:ext cx="9118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VCR OSD Mono" panose="02000609000000000000" pitchFamily="49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DDEA46B-E4E9-4A99-84BB-F167EB692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5250" y="6492875"/>
            <a:ext cx="27432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VCR OSD Mono" panose="02000609000000000000" pitchFamily="49" charset="0"/>
              </a:defRPr>
            </a:lvl1pPr>
          </a:lstStyle>
          <a:p>
            <a:fld id="{82728B6E-D8EE-4008-A707-204515747455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4AD7BD50-7762-490E-8B0A-3F9308029AB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955675" y="1825625"/>
            <a:ext cx="9782629" cy="3951061"/>
          </a:xfrm>
        </p:spPr>
        <p:txBody>
          <a:bodyPr/>
          <a:lstStyle>
            <a:lvl1pPr marL="361950" indent="-361950">
              <a:buFontTx/>
              <a:buBlip>
                <a:blip r:embed="rId3"/>
              </a:buBlip>
              <a:defRPr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809625" indent="-352425">
              <a:buFontTx/>
              <a:buBlip>
                <a:blip r:embed="rId3"/>
              </a:buBlip>
              <a:defRPr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1257300" indent="-342900">
              <a:buFontTx/>
              <a:buBlip>
                <a:blip r:embed="rId3"/>
              </a:buBlip>
              <a:defRPr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1704975" indent="-333375">
              <a:buFontTx/>
              <a:buBlip>
                <a:blip r:embed="rId3"/>
              </a:buBlip>
              <a:tabLst/>
              <a:defRPr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2152650" indent="-323850">
              <a:buFontTx/>
              <a:buBlip>
                <a:blip r:embed="rId3"/>
              </a:buBlip>
              <a:defRPr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382245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BC5AB8E7-F412-4344-9FD0-DDF74E9193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B4CA972-C300-4312-9F78-77DB8309C8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67420AC-8DCF-4ADC-99AF-4CDCECC0BF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197C67-5B8E-4563-B9C5-93BFD06EBAF3}" type="datetimeFigureOut">
              <a:rPr lang="fr-FR" smtClean="0"/>
              <a:t>09/10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72AD07B-93CD-44B5-BAEA-793A47AFD2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3EE19BC-C74C-40A5-A154-E605DCAAB3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728B6E-D8EE-4008-A707-20451574745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4738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5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4.png"/><Relationship Id="rId11" Type="http://schemas.openxmlformats.org/officeDocument/2006/relationships/image" Target="../media/image39.svg"/><Relationship Id="rId5" Type="http://schemas.openxmlformats.org/officeDocument/2006/relationships/image" Target="../media/image33.svg"/><Relationship Id="rId10" Type="http://schemas.openxmlformats.org/officeDocument/2006/relationships/image" Target="../media/image38.png"/><Relationship Id="rId4" Type="http://schemas.openxmlformats.org/officeDocument/2006/relationships/image" Target="../media/image32.png"/><Relationship Id="rId9" Type="http://schemas.openxmlformats.org/officeDocument/2006/relationships/image" Target="../media/image37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13" Type="http://schemas.openxmlformats.org/officeDocument/2006/relationships/image" Target="../media/image46.svg"/><Relationship Id="rId18" Type="http://schemas.openxmlformats.org/officeDocument/2006/relationships/image" Target="../media/image3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17" Type="http://schemas.openxmlformats.org/officeDocument/2006/relationships/image" Target="../media/image39.svg"/><Relationship Id="rId2" Type="http://schemas.openxmlformats.org/officeDocument/2006/relationships/tags" Target="../tags/tag3.xml"/><Relationship Id="rId16" Type="http://schemas.openxmlformats.org/officeDocument/2006/relationships/image" Target="../media/image38.png"/><Relationship Id="rId1" Type="http://schemas.openxmlformats.org/officeDocument/2006/relationships/tags" Target="../tags/tag2.xml"/><Relationship Id="rId6" Type="http://schemas.openxmlformats.org/officeDocument/2006/relationships/image" Target="../media/image35.svg"/><Relationship Id="rId11" Type="http://schemas.openxmlformats.org/officeDocument/2006/relationships/image" Target="../media/image44.svg"/><Relationship Id="rId5" Type="http://schemas.openxmlformats.org/officeDocument/2006/relationships/image" Target="../media/image34.png"/><Relationship Id="rId15" Type="http://schemas.openxmlformats.org/officeDocument/2006/relationships/image" Target="../media/image37.svg"/><Relationship Id="rId10" Type="http://schemas.openxmlformats.org/officeDocument/2006/relationships/image" Target="../media/image43.png"/><Relationship Id="rId19" Type="http://schemas.openxmlformats.org/officeDocument/2006/relationships/image" Target="../media/image33.sv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42.png"/><Relationship Id="rId1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diagramQuickStyle" Target="../diagrams/quickStyle2.xml"/><Relationship Id="rId18" Type="http://schemas.openxmlformats.org/officeDocument/2006/relationships/diagramQuickStyle" Target="../diagrams/quickStyle3.xml"/><Relationship Id="rId3" Type="http://schemas.openxmlformats.org/officeDocument/2006/relationships/image" Target="../media/image9.png"/><Relationship Id="rId21" Type="http://schemas.openxmlformats.org/officeDocument/2006/relationships/diagramData" Target="../diagrams/data4.xml"/><Relationship Id="rId7" Type="http://schemas.openxmlformats.org/officeDocument/2006/relationships/diagramLayout" Target="../diagrams/layout1.xml"/><Relationship Id="rId12" Type="http://schemas.openxmlformats.org/officeDocument/2006/relationships/diagramLayout" Target="../diagrams/layout2.xml"/><Relationship Id="rId17" Type="http://schemas.openxmlformats.org/officeDocument/2006/relationships/diagramLayout" Target="../diagrams/layout3.xml"/><Relationship Id="rId25" Type="http://schemas.microsoft.com/office/2007/relationships/diagramDrawing" Target="../diagrams/drawing4.xml"/><Relationship Id="rId2" Type="http://schemas.openxmlformats.org/officeDocument/2006/relationships/image" Target="../media/image8.png"/><Relationship Id="rId16" Type="http://schemas.openxmlformats.org/officeDocument/2006/relationships/diagramData" Target="../diagrams/data3.xml"/><Relationship Id="rId20" Type="http://schemas.microsoft.com/office/2007/relationships/diagramDrawing" Target="../diagrams/drawing3.xml"/><Relationship Id="rId1" Type="http://schemas.openxmlformats.org/officeDocument/2006/relationships/slideLayout" Target="../slideLayouts/slideLayout2.xml"/><Relationship Id="rId6" Type="http://schemas.openxmlformats.org/officeDocument/2006/relationships/diagramData" Target="../diagrams/data1.xml"/><Relationship Id="rId11" Type="http://schemas.openxmlformats.org/officeDocument/2006/relationships/diagramData" Target="../diagrams/data2.xml"/><Relationship Id="rId24" Type="http://schemas.openxmlformats.org/officeDocument/2006/relationships/diagramColors" Target="../diagrams/colors4.xml"/><Relationship Id="rId5" Type="http://schemas.openxmlformats.org/officeDocument/2006/relationships/image" Target="../media/image11.svg"/><Relationship Id="rId15" Type="http://schemas.microsoft.com/office/2007/relationships/diagramDrawing" Target="../diagrams/drawing2.xml"/><Relationship Id="rId23" Type="http://schemas.openxmlformats.org/officeDocument/2006/relationships/diagramQuickStyle" Target="../diagrams/quickStyle4.xml"/><Relationship Id="rId10" Type="http://schemas.microsoft.com/office/2007/relationships/diagramDrawing" Target="../diagrams/drawing1.xml"/><Relationship Id="rId19" Type="http://schemas.openxmlformats.org/officeDocument/2006/relationships/diagramColors" Target="../diagrams/colors3.xml"/><Relationship Id="rId4" Type="http://schemas.openxmlformats.org/officeDocument/2006/relationships/image" Target="../media/image10.png"/><Relationship Id="rId9" Type="http://schemas.openxmlformats.org/officeDocument/2006/relationships/diagramColors" Target="../diagrams/colors1.xml"/><Relationship Id="rId14" Type="http://schemas.openxmlformats.org/officeDocument/2006/relationships/diagramColors" Target="../diagrams/colors2.xml"/><Relationship Id="rId22" Type="http://schemas.openxmlformats.org/officeDocument/2006/relationships/diagramLayout" Target="../diagrams/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13" Type="http://schemas.openxmlformats.org/officeDocument/2006/relationships/diagramLayout" Target="../diagrams/layout7.xml"/><Relationship Id="rId18" Type="http://schemas.openxmlformats.org/officeDocument/2006/relationships/image" Target="../media/image9.png"/><Relationship Id="rId3" Type="http://schemas.openxmlformats.org/officeDocument/2006/relationships/diagramLayout" Target="../diagrams/layout5.xml"/><Relationship Id="rId21" Type="http://schemas.openxmlformats.org/officeDocument/2006/relationships/diagramData" Target="../diagrams/data8.xml"/><Relationship Id="rId7" Type="http://schemas.openxmlformats.org/officeDocument/2006/relationships/diagramData" Target="../diagrams/data6.xml"/><Relationship Id="rId12" Type="http://schemas.openxmlformats.org/officeDocument/2006/relationships/diagramData" Target="../diagrams/data7.xml"/><Relationship Id="rId17" Type="http://schemas.openxmlformats.org/officeDocument/2006/relationships/image" Target="../media/image8.png"/><Relationship Id="rId25" Type="http://schemas.microsoft.com/office/2007/relationships/diagramDrawing" Target="../diagrams/drawing8.xml"/><Relationship Id="rId2" Type="http://schemas.openxmlformats.org/officeDocument/2006/relationships/diagramData" Target="../diagrams/data5.xml"/><Relationship Id="rId16" Type="http://schemas.microsoft.com/office/2007/relationships/diagramDrawing" Target="../diagrams/drawing7.xml"/><Relationship Id="rId20" Type="http://schemas.openxmlformats.org/officeDocument/2006/relationships/image" Target="../media/image11.svg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24" Type="http://schemas.openxmlformats.org/officeDocument/2006/relationships/diagramColors" Target="../diagrams/colors8.xml"/><Relationship Id="rId5" Type="http://schemas.openxmlformats.org/officeDocument/2006/relationships/diagramColors" Target="../diagrams/colors5.xml"/><Relationship Id="rId15" Type="http://schemas.openxmlformats.org/officeDocument/2006/relationships/diagramColors" Target="../diagrams/colors7.xml"/><Relationship Id="rId23" Type="http://schemas.openxmlformats.org/officeDocument/2006/relationships/diagramQuickStyle" Target="../diagrams/quickStyle8.xml"/><Relationship Id="rId10" Type="http://schemas.openxmlformats.org/officeDocument/2006/relationships/diagramColors" Target="../diagrams/colors6.xml"/><Relationship Id="rId19" Type="http://schemas.openxmlformats.org/officeDocument/2006/relationships/image" Target="../media/image10.png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Relationship Id="rId14" Type="http://schemas.openxmlformats.org/officeDocument/2006/relationships/diagramQuickStyle" Target="../diagrams/quickStyle7.xml"/><Relationship Id="rId22" Type="http://schemas.openxmlformats.org/officeDocument/2006/relationships/diagramLayout" Target="../diagrams/layou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0.xml"/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12" Type="http://schemas.microsoft.com/office/2007/relationships/diagramDrawing" Target="../diagrams/drawing10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9.xml"/><Relationship Id="rId11" Type="http://schemas.openxmlformats.org/officeDocument/2006/relationships/diagramColors" Target="../diagrams/colors10.xml"/><Relationship Id="rId5" Type="http://schemas.openxmlformats.org/officeDocument/2006/relationships/diagramQuickStyle" Target="../diagrams/quickStyle9.xml"/><Relationship Id="rId10" Type="http://schemas.openxmlformats.org/officeDocument/2006/relationships/diagramQuickStyle" Target="../diagrams/quickStyle10.xml"/><Relationship Id="rId4" Type="http://schemas.openxmlformats.org/officeDocument/2006/relationships/diagramLayout" Target="../diagrams/layout9.xml"/><Relationship Id="rId9" Type="http://schemas.openxmlformats.org/officeDocument/2006/relationships/diagramLayout" Target="../diagrams/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image" Target="../media/image12.jpg"/><Relationship Id="rId7" Type="http://schemas.openxmlformats.org/officeDocument/2006/relationships/image" Target="../media/image1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jpg"/><Relationship Id="rId5" Type="http://schemas.openxmlformats.org/officeDocument/2006/relationships/image" Target="../media/image14.jpg"/><Relationship Id="rId4" Type="http://schemas.openxmlformats.org/officeDocument/2006/relationships/image" Target="../media/image13.jpg"/><Relationship Id="rId9" Type="http://schemas.openxmlformats.org/officeDocument/2006/relationships/image" Target="../media/image18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microsoft.com/office/2007/relationships/hdphoto" Target="../media/hdphoto4.wdp"/><Relationship Id="rId3" Type="http://schemas.openxmlformats.org/officeDocument/2006/relationships/image" Target="../media/image8.png"/><Relationship Id="rId7" Type="http://schemas.microsoft.com/office/2007/relationships/hdphoto" Target="../media/hdphoto2.wdp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0" Type="http://schemas.microsoft.com/office/2007/relationships/hdphoto" Target="../media/hdphoto3.wdp"/><Relationship Id="rId4" Type="http://schemas.openxmlformats.org/officeDocument/2006/relationships/image" Target="../media/image21.gif"/><Relationship Id="rId9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F833092-2CC6-47C3-9962-823BE23D53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6792EED-A809-466D-8504-AA35B25D1A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4" name="Image 3" descr="Une image contenant table, assis, anniversaire, coloré&#10;&#10;Description générée automatiquement">
            <a:extLst>
              <a:ext uri="{FF2B5EF4-FFF2-40B4-BE49-F238E27FC236}">
                <a16:creationId xmlns:a16="http://schemas.microsoft.com/office/drawing/2014/main" id="{82076A0F-9C8B-4315-AF63-3E5A0574D5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4F1000E0-DA5C-461E-8F71-8FC7643212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5059" y="1482348"/>
            <a:ext cx="2839450" cy="2870756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BD316A6A-F76A-4384-B09B-8B0B858940F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360" y="3283284"/>
            <a:ext cx="5403279" cy="1246701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833969EB-9CA0-4686-800D-A20B4135A8B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004" y="3934342"/>
            <a:ext cx="3068802" cy="1246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0352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A16E1A0-87DA-4BE9-975A-BD22C347D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ODO List</a:t>
            </a: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CF88DF0F-CC75-4470-AFED-6AF8D87872C1}"/>
              </a:ext>
            </a:extLst>
          </p:cNvPr>
          <p:cNvSpPr/>
          <p:nvPr/>
        </p:nvSpPr>
        <p:spPr>
          <a:xfrm>
            <a:off x="4368105" y="498799"/>
            <a:ext cx="1535906" cy="767953"/>
          </a:xfrm>
          <a:custGeom>
            <a:avLst/>
            <a:gdLst>
              <a:gd name="connsiteX0" fmla="*/ 0 w 1535906"/>
              <a:gd name="connsiteY0" fmla="*/ 76795 h 767953"/>
              <a:gd name="connsiteX1" fmla="*/ 76795 w 1535906"/>
              <a:gd name="connsiteY1" fmla="*/ 0 h 767953"/>
              <a:gd name="connsiteX2" fmla="*/ 1459111 w 1535906"/>
              <a:gd name="connsiteY2" fmla="*/ 0 h 767953"/>
              <a:gd name="connsiteX3" fmla="*/ 1535906 w 1535906"/>
              <a:gd name="connsiteY3" fmla="*/ 76795 h 767953"/>
              <a:gd name="connsiteX4" fmla="*/ 1535906 w 1535906"/>
              <a:gd name="connsiteY4" fmla="*/ 691158 h 767953"/>
              <a:gd name="connsiteX5" fmla="*/ 1459111 w 1535906"/>
              <a:gd name="connsiteY5" fmla="*/ 767953 h 767953"/>
              <a:gd name="connsiteX6" fmla="*/ 76795 w 1535906"/>
              <a:gd name="connsiteY6" fmla="*/ 767953 h 767953"/>
              <a:gd name="connsiteX7" fmla="*/ 0 w 1535906"/>
              <a:gd name="connsiteY7" fmla="*/ 691158 h 767953"/>
              <a:gd name="connsiteX8" fmla="*/ 0 w 1535906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35906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459111" y="0"/>
                </a:lnTo>
                <a:cubicBezTo>
                  <a:pt x="1501524" y="0"/>
                  <a:pt x="1535906" y="34382"/>
                  <a:pt x="1535906" y="76795"/>
                </a:cubicBezTo>
                <a:lnTo>
                  <a:pt x="1535906" y="691158"/>
                </a:lnTo>
                <a:cubicBezTo>
                  <a:pt x="1535906" y="733571"/>
                  <a:pt x="1501524" y="767953"/>
                  <a:pt x="1459111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8213" tIns="52973" rIns="68213" bIns="52973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2400" kern="1200" dirty="0"/>
              <a:t>Prioritaire</a:t>
            </a:r>
          </a:p>
        </p:txBody>
      </p:sp>
      <p:sp>
        <p:nvSpPr>
          <p:cNvPr id="30" name="Forme libre : forme 29">
            <a:extLst>
              <a:ext uri="{FF2B5EF4-FFF2-40B4-BE49-F238E27FC236}">
                <a16:creationId xmlns:a16="http://schemas.microsoft.com/office/drawing/2014/main" id="{8233682B-44AE-49A5-8F2B-B205812762C5}"/>
              </a:ext>
            </a:extLst>
          </p:cNvPr>
          <p:cNvSpPr/>
          <p:nvPr/>
        </p:nvSpPr>
        <p:spPr>
          <a:xfrm>
            <a:off x="4521696" y="1266752"/>
            <a:ext cx="153590" cy="65768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657686"/>
                </a:lnTo>
                <a:lnTo>
                  <a:pt x="153590" y="657686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26ED4786-4C6C-4D2C-845D-F7084C9018FB}"/>
              </a:ext>
            </a:extLst>
          </p:cNvPr>
          <p:cNvSpPr/>
          <p:nvPr/>
        </p:nvSpPr>
        <p:spPr>
          <a:xfrm>
            <a:off x="4675286" y="1458741"/>
            <a:ext cx="1228724" cy="931396"/>
          </a:xfrm>
          <a:custGeom>
            <a:avLst/>
            <a:gdLst>
              <a:gd name="connsiteX0" fmla="*/ 0 w 1228724"/>
              <a:gd name="connsiteY0" fmla="*/ 93140 h 931396"/>
              <a:gd name="connsiteX1" fmla="*/ 93140 w 1228724"/>
              <a:gd name="connsiteY1" fmla="*/ 0 h 931396"/>
              <a:gd name="connsiteX2" fmla="*/ 1135584 w 1228724"/>
              <a:gd name="connsiteY2" fmla="*/ 0 h 931396"/>
              <a:gd name="connsiteX3" fmla="*/ 1228724 w 1228724"/>
              <a:gd name="connsiteY3" fmla="*/ 93140 h 931396"/>
              <a:gd name="connsiteX4" fmla="*/ 1228724 w 1228724"/>
              <a:gd name="connsiteY4" fmla="*/ 838256 h 931396"/>
              <a:gd name="connsiteX5" fmla="*/ 1135584 w 1228724"/>
              <a:gd name="connsiteY5" fmla="*/ 931396 h 931396"/>
              <a:gd name="connsiteX6" fmla="*/ 93140 w 1228724"/>
              <a:gd name="connsiteY6" fmla="*/ 931396 h 931396"/>
              <a:gd name="connsiteX7" fmla="*/ 0 w 1228724"/>
              <a:gd name="connsiteY7" fmla="*/ 838256 h 931396"/>
              <a:gd name="connsiteX8" fmla="*/ 0 w 1228724"/>
              <a:gd name="connsiteY8" fmla="*/ 93140 h 931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931396">
                <a:moveTo>
                  <a:pt x="0" y="93140"/>
                </a:moveTo>
                <a:cubicBezTo>
                  <a:pt x="0" y="41700"/>
                  <a:pt x="41700" y="0"/>
                  <a:pt x="93140" y="0"/>
                </a:cubicBezTo>
                <a:lnTo>
                  <a:pt x="1135584" y="0"/>
                </a:lnTo>
                <a:cubicBezTo>
                  <a:pt x="1187024" y="0"/>
                  <a:pt x="1228724" y="41700"/>
                  <a:pt x="1228724" y="93140"/>
                </a:cubicBezTo>
                <a:lnTo>
                  <a:pt x="1228724" y="838256"/>
                </a:lnTo>
                <a:cubicBezTo>
                  <a:pt x="1228724" y="889696"/>
                  <a:pt x="1187024" y="931396"/>
                  <a:pt x="1135584" y="931396"/>
                </a:cubicBezTo>
                <a:lnTo>
                  <a:pt x="93140" y="931396"/>
                </a:lnTo>
                <a:cubicBezTo>
                  <a:pt x="41700" y="931396"/>
                  <a:pt x="0" y="889696"/>
                  <a:pt x="0" y="838256"/>
                </a:cubicBezTo>
                <a:lnTo>
                  <a:pt x="0" y="93140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570" tIns="50140" rIns="61570" bIns="50140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/>
              <a:t>Gameplay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Tir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Time slow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Victoire / défaite</a:t>
            </a:r>
          </a:p>
        </p:txBody>
      </p:sp>
      <p:sp>
        <p:nvSpPr>
          <p:cNvPr id="32" name="Forme libre : forme 31">
            <a:extLst>
              <a:ext uri="{FF2B5EF4-FFF2-40B4-BE49-F238E27FC236}">
                <a16:creationId xmlns:a16="http://schemas.microsoft.com/office/drawing/2014/main" id="{A2B2CC47-B1EB-4279-9DB9-3316B4707EF3}"/>
              </a:ext>
            </a:extLst>
          </p:cNvPr>
          <p:cNvSpPr/>
          <p:nvPr/>
        </p:nvSpPr>
        <p:spPr>
          <a:xfrm>
            <a:off x="4521696" y="1266752"/>
            <a:ext cx="153590" cy="172091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720917"/>
                </a:lnTo>
                <a:lnTo>
                  <a:pt x="153590" y="1720917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8F7C3B6A-95B7-475A-9811-D8945C0B81E9}"/>
              </a:ext>
            </a:extLst>
          </p:cNvPr>
          <p:cNvSpPr/>
          <p:nvPr/>
        </p:nvSpPr>
        <p:spPr>
          <a:xfrm>
            <a:off x="4675286" y="2582126"/>
            <a:ext cx="1228724" cy="811089"/>
          </a:xfrm>
          <a:custGeom>
            <a:avLst/>
            <a:gdLst>
              <a:gd name="connsiteX0" fmla="*/ 0 w 1228724"/>
              <a:gd name="connsiteY0" fmla="*/ 81109 h 811089"/>
              <a:gd name="connsiteX1" fmla="*/ 81109 w 1228724"/>
              <a:gd name="connsiteY1" fmla="*/ 0 h 811089"/>
              <a:gd name="connsiteX2" fmla="*/ 1147615 w 1228724"/>
              <a:gd name="connsiteY2" fmla="*/ 0 h 811089"/>
              <a:gd name="connsiteX3" fmla="*/ 1228724 w 1228724"/>
              <a:gd name="connsiteY3" fmla="*/ 81109 h 811089"/>
              <a:gd name="connsiteX4" fmla="*/ 1228724 w 1228724"/>
              <a:gd name="connsiteY4" fmla="*/ 729980 h 811089"/>
              <a:gd name="connsiteX5" fmla="*/ 1147615 w 1228724"/>
              <a:gd name="connsiteY5" fmla="*/ 811089 h 811089"/>
              <a:gd name="connsiteX6" fmla="*/ 81109 w 1228724"/>
              <a:gd name="connsiteY6" fmla="*/ 811089 h 811089"/>
              <a:gd name="connsiteX7" fmla="*/ 0 w 1228724"/>
              <a:gd name="connsiteY7" fmla="*/ 729980 h 811089"/>
              <a:gd name="connsiteX8" fmla="*/ 0 w 1228724"/>
              <a:gd name="connsiteY8" fmla="*/ 81109 h 811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811089">
                <a:moveTo>
                  <a:pt x="0" y="81109"/>
                </a:moveTo>
                <a:cubicBezTo>
                  <a:pt x="0" y="36314"/>
                  <a:pt x="36314" y="0"/>
                  <a:pt x="81109" y="0"/>
                </a:cubicBezTo>
                <a:lnTo>
                  <a:pt x="1147615" y="0"/>
                </a:lnTo>
                <a:cubicBezTo>
                  <a:pt x="1192410" y="0"/>
                  <a:pt x="1228724" y="36314"/>
                  <a:pt x="1228724" y="81109"/>
                </a:cubicBezTo>
                <a:lnTo>
                  <a:pt x="1228724" y="729980"/>
                </a:lnTo>
                <a:cubicBezTo>
                  <a:pt x="1228724" y="774775"/>
                  <a:pt x="1192410" y="811089"/>
                  <a:pt x="1147615" y="811089"/>
                </a:cubicBezTo>
                <a:lnTo>
                  <a:pt x="81109" y="811089"/>
                </a:lnTo>
                <a:cubicBezTo>
                  <a:pt x="36314" y="811089"/>
                  <a:pt x="0" y="774775"/>
                  <a:pt x="0" y="729980"/>
                </a:cubicBezTo>
                <a:lnTo>
                  <a:pt x="0" y="81109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046" tIns="46616" rIns="58046" bIns="46616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/>
              <a:t>Feedbacks</a:t>
            </a:r>
            <a:endParaRPr lang="fr-FR" sz="1600" kern="1200" dirty="0"/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VFX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SFX</a:t>
            </a:r>
          </a:p>
        </p:txBody>
      </p:sp>
      <p:sp>
        <p:nvSpPr>
          <p:cNvPr id="34" name="Forme libre : forme 33">
            <a:extLst>
              <a:ext uri="{FF2B5EF4-FFF2-40B4-BE49-F238E27FC236}">
                <a16:creationId xmlns:a16="http://schemas.microsoft.com/office/drawing/2014/main" id="{67799572-DC9B-470B-95B0-93A02DA929F9}"/>
              </a:ext>
            </a:extLst>
          </p:cNvPr>
          <p:cNvSpPr/>
          <p:nvPr/>
        </p:nvSpPr>
        <p:spPr>
          <a:xfrm>
            <a:off x="4521696" y="1266752"/>
            <a:ext cx="153590" cy="2811653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811653"/>
                </a:lnTo>
                <a:lnTo>
                  <a:pt x="153590" y="2811653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5" name="Forme libre : forme 34">
            <a:extLst>
              <a:ext uri="{FF2B5EF4-FFF2-40B4-BE49-F238E27FC236}">
                <a16:creationId xmlns:a16="http://schemas.microsoft.com/office/drawing/2014/main" id="{CBD78435-23E7-45B5-AE83-7D1E10CB0493}"/>
              </a:ext>
            </a:extLst>
          </p:cNvPr>
          <p:cNvSpPr/>
          <p:nvPr/>
        </p:nvSpPr>
        <p:spPr>
          <a:xfrm>
            <a:off x="4675286" y="3585203"/>
            <a:ext cx="1228724" cy="986405"/>
          </a:xfrm>
          <a:custGeom>
            <a:avLst/>
            <a:gdLst>
              <a:gd name="connsiteX0" fmla="*/ 0 w 1228724"/>
              <a:gd name="connsiteY0" fmla="*/ 98641 h 986405"/>
              <a:gd name="connsiteX1" fmla="*/ 98641 w 1228724"/>
              <a:gd name="connsiteY1" fmla="*/ 0 h 986405"/>
              <a:gd name="connsiteX2" fmla="*/ 1130084 w 1228724"/>
              <a:gd name="connsiteY2" fmla="*/ 0 h 986405"/>
              <a:gd name="connsiteX3" fmla="*/ 1228725 w 1228724"/>
              <a:gd name="connsiteY3" fmla="*/ 98641 h 986405"/>
              <a:gd name="connsiteX4" fmla="*/ 1228724 w 1228724"/>
              <a:gd name="connsiteY4" fmla="*/ 887765 h 986405"/>
              <a:gd name="connsiteX5" fmla="*/ 1130083 w 1228724"/>
              <a:gd name="connsiteY5" fmla="*/ 986406 h 986405"/>
              <a:gd name="connsiteX6" fmla="*/ 98641 w 1228724"/>
              <a:gd name="connsiteY6" fmla="*/ 986405 h 986405"/>
              <a:gd name="connsiteX7" fmla="*/ 0 w 1228724"/>
              <a:gd name="connsiteY7" fmla="*/ 887764 h 986405"/>
              <a:gd name="connsiteX8" fmla="*/ 0 w 1228724"/>
              <a:gd name="connsiteY8" fmla="*/ 98641 h 986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986405">
                <a:moveTo>
                  <a:pt x="0" y="98641"/>
                </a:moveTo>
                <a:cubicBezTo>
                  <a:pt x="0" y="44163"/>
                  <a:pt x="44163" y="0"/>
                  <a:pt x="98641" y="0"/>
                </a:cubicBezTo>
                <a:lnTo>
                  <a:pt x="1130084" y="0"/>
                </a:lnTo>
                <a:cubicBezTo>
                  <a:pt x="1184562" y="0"/>
                  <a:pt x="1228725" y="44163"/>
                  <a:pt x="1228725" y="98641"/>
                </a:cubicBezTo>
                <a:cubicBezTo>
                  <a:pt x="1228725" y="361682"/>
                  <a:pt x="1228724" y="624724"/>
                  <a:pt x="1228724" y="887765"/>
                </a:cubicBezTo>
                <a:cubicBezTo>
                  <a:pt x="1228724" y="942243"/>
                  <a:pt x="1184561" y="986406"/>
                  <a:pt x="1130083" y="986406"/>
                </a:cubicBezTo>
                <a:lnTo>
                  <a:pt x="98641" y="986405"/>
                </a:lnTo>
                <a:cubicBezTo>
                  <a:pt x="44163" y="986405"/>
                  <a:pt x="0" y="942242"/>
                  <a:pt x="0" y="887764"/>
                </a:cubicBezTo>
                <a:lnTo>
                  <a:pt x="0" y="98641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3181" tIns="51751" rIns="63181" bIns="51751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/>
              <a:t>Assets</a:t>
            </a:r>
            <a:endParaRPr lang="fr-FR" sz="1600" kern="1200" dirty="0"/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Didier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Ennemi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 err="1"/>
              <a:t>Map</a:t>
            </a:r>
            <a:endParaRPr lang="fr-FR" sz="1100" kern="1200" dirty="0"/>
          </a:p>
        </p:txBody>
      </p:sp>
      <p:sp>
        <p:nvSpPr>
          <p:cNvPr id="36" name="Forme libre : forme 35">
            <a:extLst>
              <a:ext uri="{FF2B5EF4-FFF2-40B4-BE49-F238E27FC236}">
                <a16:creationId xmlns:a16="http://schemas.microsoft.com/office/drawing/2014/main" id="{D0BE56FD-3BDA-4851-8CDA-027E417E58E6}"/>
              </a:ext>
            </a:extLst>
          </p:cNvPr>
          <p:cNvSpPr/>
          <p:nvPr/>
        </p:nvSpPr>
        <p:spPr>
          <a:xfrm>
            <a:off x="4521696" y="1266752"/>
            <a:ext cx="153590" cy="388082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3880820"/>
                </a:lnTo>
                <a:lnTo>
                  <a:pt x="153590" y="3880820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7" name="Forme libre : forme 36">
            <a:extLst>
              <a:ext uri="{FF2B5EF4-FFF2-40B4-BE49-F238E27FC236}">
                <a16:creationId xmlns:a16="http://schemas.microsoft.com/office/drawing/2014/main" id="{173E9E4B-CCAE-4A18-B943-FE69BE017CB2}"/>
              </a:ext>
            </a:extLst>
          </p:cNvPr>
          <p:cNvSpPr/>
          <p:nvPr/>
        </p:nvSpPr>
        <p:spPr>
          <a:xfrm>
            <a:off x="4675286" y="4763596"/>
            <a:ext cx="1228724" cy="767953"/>
          </a:xfrm>
          <a:custGeom>
            <a:avLst/>
            <a:gdLst>
              <a:gd name="connsiteX0" fmla="*/ 0 w 1228724"/>
              <a:gd name="connsiteY0" fmla="*/ 76795 h 767953"/>
              <a:gd name="connsiteX1" fmla="*/ 76795 w 1228724"/>
              <a:gd name="connsiteY1" fmla="*/ 0 h 767953"/>
              <a:gd name="connsiteX2" fmla="*/ 1151929 w 1228724"/>
              <a:gd name="connsiteY2" fmla="*/ 0 h 767953"/>
              <a:gd name="connsiteX3" fmla="*/ 1228724 w 1228724"/>
              <a:gd name="connsiteY3" fmla="*/ 76795 h 767953"/>
              <a:gd name="connsiteX4" fmla="*/ 1228724 w 1228724"/>
              <a:gd name="connsiteY4" fmla="*/ 691158 h 767953"/>
              <a:gd name="connsiteX5" fmla="*/ 1151929 w 1228724"/>
              <a:gd name="connsiteY5" fmla="*/ 767953 h 767953"/>
              <a:gd name="connsiteX6" fmla="*/ 76795 w 1228724"/>
              <a:gd name="connsiteY6" fmla="*/ 767953 h 767953"/>
              <a:gd name="connsiteX7" fmla="*/ 0 w 1228724"/>
              <a:gd name="connsiteY7" fmla="*/ 691158 h 767953"/>
              <a:gd name="connsiteX8" fmla="*/ 0 w 1228724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151929" y="0"/>
                </a:lnTo>
                <a:cubicBezTo>
                  <a:pt x="1194342" y="0"/>
                  <a:pt x="1228724" y="34382"/>
                  <a:pt x="1228724" y="76795"/>
                </a:cubicBezTo>
                <a:lnTo>
                  <a:pt x="1228724" y="691158"/>
                </a:lnTo>
                <a:cubicBezTo>
                  <a:pt x="1228724" y="733571"/>
                  <a:pt x="1194342" y="767953"/>
                  <a:pt x="1151929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783" tIns="45353" rIns="56783" bIns="45353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/>
              <a:t>UI</a:t>
            </a:r>
            <a:endParaRPr lang="fr-FR" sz="1600" kern="1200" dirty="0"/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Menu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 err="1"/>
              <a:t>Endgame</a:t>
            </a:r>
            <a:endParaRPr lang="fr-FR" sz="1100" kern="1200" dirty="0"/>
          </a:p>
        </p:txBody>
      </p:sp>
      <p:sp>
        <p:nvSpPr>
          <p:cNvPr id="38" name="Forme libre : forme 37">
            <a:extLst>
              <a:ext uri="{FF2B5EF4-FFF2-40B4-BE49-F238E27FC236}">
                <a16:creationId xmlns:a16="http://schemas.microsoft.com/office/drawing/2014/main" id="{1B485E35-DA6B-4DD8-8485-4412CD9D77AF}"/>
              </a:ext>
            </a:extLst>
          </p:cNvPr>
          <p:cNvSpPr/>
          <p:nvPr/>
        </p:nvSpPr>
        <p:spPr>
          <a:xfrm>
            <a:off x="4521696" y="1266752"/>
            <a:ext cx="153590" cy="484076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4840761"/>
                </a:lnTo>
                <a:lnTo>
                  <a:pt x="153590" y="4840761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9" name="Forme libre : forme 38">
            <a:extLst>
              <a:ext uri="{FF2B5EF4-FFF2-40B4-BE49-F238E27FC236}">
                <a16:creationId xmlns:a16="http://schemas.microsoft.com/office/drawing/2014/main" id="{364DEF19-8F1C-44E6-87ED-EB57E0540C00}"/>
              </a:ext>
            </a:extLst>
          </p:cNvPr>
          <p:cNvSpPr/>
          <p:nvPr/>
        </p:nvSpPr>
        <p:spPr>
          <a:xfrm>
            <a:off x="4675286" y="5723538"/>
            <a:ext cx="1228724" cy="767953"/>
          </a:xfrm>
          <a:custGeom>
            <a:avLst/>
            <a:gdLst>
              <a:gd name="connsiteX0" fmla="*/ 0 w 1228724"/>
              <a:gd name="connsiteY0" fmla="*/ 76795 h 767953"/>
              <a:gd name="connsiteX1" fmla="*/ 76795 w 1228724"/>
              <a:gd name="connsiteY1" fmla="*/ 0 h 767953"/>
              <a:gd name="connsiteX2" fmla="*/ 1151929 w 1228724"/>
              <a:gd name="connsiteY2" fmla="*/ 0 h 767953"/>
              <a:gd name="connsiteX3" fmla="*/ 1228724 w 1228724"/>
              <a:gd name="connsiteY3" fmla="*/ 76795 h 767953"/>
              <a:gd name="connsiteX4" fmla="*/ 1228724 w 1228724"/>
              <a:gd name="connsiteY4" fmla="*/ 691158 h 767953"/>
              <a:gd name="connsiteX5" fmla="*/ 1151929 w 1228724"/>
              <a:gd name="connsiteY5" fmla="*/ 767953 h 767953"/>
              <a:gd name="connsiteX6" fmla="*/ 76795 w 1228724"/>
              <a:gd name="connsiteY6" fmla="*/ 767953 h 767953"/>
              <a:gd name="connsiteX7" fmla="*/ 0 w 1228724"/>
              <a:gd name="connsiteY7" fmla="*/ 691158 h 767953"/>
              <a:gd name="connsiteX8" fmla="*/ 0 w 1228724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151929" y="0"/>
                </a:lnTo>
                <a:cubicBezTo>
                  <a:pt x="1194342" y="0"/>
                  <a:pt x="1228724" y="34382"/>
                  <a:pt x="1228724" y="76795"/>
                </a:cubicBezTo>
                <a:lnTo>
                  <a:pt x="1228724" y="691158"/>
                </a:lnTo>
                <a:cubicBezTo>
                  <a:pt x="1228724" y="733571"/>
                  <a:pt x="1194342" y="767953"/>
                  <a:pt x="1151929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783" tIns="45353" rIns="56783" bIns="45353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/>
              <a:t>1 niveau</a:t>
            </a:r>
          </a:p>
        </p:txBody>
      </p:sp>
      <p:sp>
        <p:nvSpPr>
          <p:cNvPr id="40" name="Forme libre : forme 39">
            <a:extLst>
              <a:ext uri="{FF2B5EF4-FFF2-40B4-BE49-F238E27FC236}">
                <a16:creationId xmlns:a16="http://schemas.microsoft.com/office/drawing/2014/main" id="{29EB7781-C70C-49F0-B669-4D54E83830E2}"/>
              </a:ext>
            </a:extLst>
          </p:cNvPr>
          <p:cNvSpPr/>
          <p:nvPr/>
        </p:nvSpPr>
        <p:spPr>
          <a:xfrm>
            <a:off x="6621363" y="498799"/>
            <a:ext cx="1535906" cy="767953"/>
          </a:xfrm>
          <a:custGeom>
            <a:avLst/>
            <a:gdLst>
              <a:gd name="connsiteX0" fmla="*/ 0 w 1535906"/>
              <a:gd name="connsiteY0" fmla="*/ 76795 h 767953"/>
              <a:gd name="connsiteX1" fmla="*/ 76795 w 1535906"/>
              <a:gd name="connsiteY1" fmla="*/ 0 h 767953"/>
              <a:gd name="connsiteX2" fmla="*/ 1459111 w 1535906"/>
              <a:gd name="connsiteY2" fmla="*/ 0 h 767953"/>
              <a:gd name="connsiteX3" fmla="*/ 1535906 w 1535906"/>
              <a:gd name="connsiteY3" fmla="*/ 76795 h 767953"/>
              <a:gd name="connsiteX4" fmla="*/ 1535906 w 1535906"/>
              <a:gd name="connsiteY4" fmla="*/ 691158 h 767953"/>
              <a:gd name="connsiteX5" fmla="*/ 1459111 w 1535906"/>
              <a:gd name="connsiteY5" fmla="*/ 767953 h 767953"/>
              <a:gd name="connsiteX6" fmla="*/ 76795 w 1535906"/>
              <a:gd name="connsiteY6" fmla="*/ 767953 h 767953"/>
              <a:gd name="connsiteX7" fmla="*/ 0 w 1535906"/>
              <a:gd name="connsiteY7" fmla="*/ 691158 h 767953"/>
              <a:gd name="connsiteX8" fmla="*/ 0 w 1535906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35906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459111" y="0"/>
                </a:lnTo>
                <a:cubicBezTo>
                  <a:pt x="1501524" y="0"/>
                  <a:pt x="1535906" y="34382"/>
                  <a:pt x="1535906" y="76795"/>
                </a:cubicBezTo>
                <a:lnTo>
                  <a:pt x="1535906" y="691158"/>
                </a:lnTo>
                <a:cubicBezTo>
                  <a:pt x="1535906" y="733571"/>
                  <a:pt x="1501524" y="767953"/>
                  <a:pt x="1459111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8213" tIns="52973" rIns="68213" bIns="52973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2400" kern="1200" dirty="0"/>
              <a:t>Secondaire</a:t>
            </a:r>
          </a:p>
        </p:txBody>
      </p:sp>
      <p:sp>
        <p:nvSpPr>
          <p:cNvPr id="41" name="Forme libre : forme 40">
            <a:extLst>
              <a:ext uri="{FF2B5EF4-FFF2-40B4-BE49-F238E27FC236}">
                <a16:creationId xmlns:a16="http://schemas.microsoft.com/office/drawing/2014/main" id="{AB62141F-3B73-4146-A949-E6B0F820F153}"/>
              </a:ext>
            </a:extLst>
          </p:cNvPr>
          <p:cNvSpPr/>
          <p:nvPr/>
        </p:nvSpPr>
        <p:spPr>
          <a:xfrm>
            <a:off x="6774953" y="1266752"/>
            <a:ext cx="153590" cy="57596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575964"/>
                </a:lnTo>
                <a:lnTo>
                  <a:pt x="153590" y="575964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EFBD6D19-93D4-4259-B2B6-C37495AEA3E4}"/>
              </a:ext>
            </a:extLst>
          </p:cNvPr>
          <p:cNvSpPr/>
          <p:nvPr/>
        </p:nvSpPr>
        <p:spPr>
          <a:xfrm>
            <a:off x="6928544" y="1458741"/>
            <a:ext cx="1228724" cy="767953"/>
          </a:xfrm>
          <a:custGeom>
            <a:avLst/>
            <a:gdLst>
              <a:gd name="connsiteX0" fmla="*/ 0 w 1228724"/>
              <a:gd name="connsiteY0" fmla="*/ 76795 h 767953"/>
              <a:gd name="connsiteX1" fmla="*/ 76795 w 1228724"/>
              <a:gd name="connsiteY1" fmla="*/ 0 h 767953"/>
              <a:gd name="connsiteX2" fmla="*/ 1151929 w 1228724"/>
              <a:gd name="connsiteY2" fmla="*/ 0 h 767953"/>
              <a:gd name="connsiteX3" fmla="*/ 1228724 w 1228724"/>
              <a:gd name="connsiteY3" fmla="*/ 76795 h 767953"/>
              <a:gd name="connsiteX4" fmla="*/ 1228724 w 1228724"/>
              <a:gd name="connsiteY4" fmla="*/ 691158 h 767953"/>
              <a:gd name="connsiteX5" fmla="*/ 1151929 w 1228724"/>
              <a:gd name="connsiteY5" fmla="*/ 767953 h 767953"/>
              <a:gd name="connsiteX6" fmla="*/ 76795 w 1228724"/>
              <a:gd name="connsiteY6" fmla="*/ 767953 h 767953"/>
              <a:gd name="connsiteX7" fmla="*/ 0 w 1228724"/>
              <a:gd name="connsiteY7" fmla="*/ 691158 h 767953"/>
              <a:gd name="connsiteX8" fmla="*/ 0 w 1228724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151929" y="0"/>
                </a:lnTo>
                <a:cubicBezTo>
                  <a:pt x="1194342" y="0"/>
                  <a:pt x="1228724" y="34382"/>
                  <a:pt x="1228724" y="76795"/>
                </a:cubicBezTo>
                <a:lnTo>
                  <a:pt x="1228724" y="691158"/>
                </a:lnTo>
                <a:cubicBezTo>
                  <a:pt x="1228724" y="733571"/>
                  <a:pt x="1194342" y="767953"/>
                  <a:pt x="1151929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783" tIns="45353" rIns="56783" bIns="45353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>
                <a:solidFill>
                  <a:srgbClr val="FF0000"/>
                </a:solidFill>
              </a:rPr>
              <a:t>Vidéo intro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52512DE-E3DB-4C15-906B-BDB0D2D6994D}"/>
              </a:ext>
            </a:extLst>
          </p:cNvPr>
          <p:cNvSpPr/>
          <p:nvPr/>
        </p:nvSpPr>
        <p:spPr>
          <a:xfrm>
            <a:off x="6774953" y="1266752"/>
            <a:ext cx="153590" cy="153590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535906"/>
                </a:lnTo>
                <a:lnTo>
                  <a:pt x="153590" y="1535906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4" name="Forme libre : forme 43">
            <a:extLst>
              <a:ext uri="{FF2B5EF4-FFF2-40B4-BE49-F238E27FC236}">
                <a16:creationId xmlns:a16="http://schemas.microsoft.com/office/drawing/2014/main" id="{701F7700-A815-4C2A-B7F8-EC76AB6F43A0}"/>
              </a:ext>
            </a:extLst>
          </p:cNvPr>
          <p:cNvSpPr/>
          <p:nvPr/>
        </p:nvSpPr>
        <p:spPr>
          <a:xfrm>
            <a:off x="6928544" y="2418682"/>
            <a:ext cx="1228724" cy="767953"/>
          </a:xfrm>
          <a:custGeom>
            <a:avLst/>
            <a:gdLst>
              <a:gd name="connsiteX0" fmla="*/ 0 w 1228724"/>
              <a:gd name="connsiteY0" fmla="*/ 76795 h 767953"/>
              <a:gd name="connsiteX1" fmla="*/ 76795 w 1228724"/>
              <a:gd name="connsiteY1" fmla="*/ 0 h 767953"/>
              <a:gd name="connsiteX2" fmla="*/ 1151929 w 1228724"/>
              <a:gd name="connsiteY2" fmla="*/ 0 h 767953"/>
              <a:gd name="connsiteX3" fmla="*/ 1228724 w 1228724"/>
              <a:gd name="connsiteY3" fmla="*/ 76795 h 767953"/>
              <a:gd name="connsiteX4" fmla="*/ 1228724 w 1228724"/>
              <a:gd name="connsiteY4" fmla="*/ 691158 h 767953"/>
              <a:gd name="connsiteX5" fmla="*/ 1151929 w 1228724"/>
              <a:gd name="connsiteY5" fmla="*/ 767953 h 767953"/>
              <a:gd name="connsiteX6" fmla="*/ 76795 w 1228724"/>
              <a:gd name="connsiteY6" fmla="*/ 767953 h 767953"/>
              <a:gd name="connsiteX7" fmla="*/ 0 w 1228724"/>
              <a:gd name="connsiteY7" fmla="*/ 691158 h 767953"/>
              <a:gd name="connsiteX8" fmla="*/ 0 w 1228724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151929" y="0"/>
                </a:lnTo>
                <a:cubicBezTo>
                  <a:pt x="1194342" y="0"/>
                  <a:pt x="1228724" y="34382"/>
                  <a:pt x="1228724" y="76795"/>
                </a:cubicBezTo>
                <a:lnTo>
                  <a:pt x="1228724" y="691158"/>
                </a:lnTo>
                <a:cubicBezTo>
                  <a:pt x="1228724" y="733571"/>
                  <a:pt x="1194342" y="767953"/>
                  <a:pt x="1151929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783" tIns="45353" rIns="56783" bIns="45353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>
                <a:solidFill>
                  <a:schemeClr val="accent3">
                    <a:lumMod val="50000"/>
                  </a:schemeClr>
                </a:solidFill>
              </a:rPr>
              <a:t>UI</a:t>
            </a:r>
            <a:endParaRPr lang="fr-FR" sz="1600" kern="1200" dirty="0">
              <a:solidFill>
                <a:schemeClr val="accent3">
                  <a:lumMod val="50000"/>
                </a:schemeClr>
              </a:solidFill>
            </a:endParaRP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>
                <a:solidFill>
                  <a:schemeClr val="accent3">
                    <a:lumMod val="50000"/>
                  </a:schemeClr>
                </a:solidFill>
              </a:rPr>
              <a:t>Pause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>
                <a:solidFill>
                  <a:schemeClr val="accent3">
                    <a:lumMod val="50000"/>
                  </a:schemeClr>
                </a:solidFill>
              </a:rPr>
              <a:t>Settings</a:t>
            </a:r>
          </a:p>
        </p:txBody>
      </p:sp>
      <p:sp>
        <p:nvSpPr>
          <p:cNvPr id="45" name="Forme libre : forme 44">
            <a:extLst>
              <a:ext uri="{FF2B5EF4-FFF2-40B4-BE49-F238E27FC236}">
                <a16:creationId xmlns:a16="http://schemas.microsoft.com/office/drawing/2014/main" id="{50F34311-362F-4418-A063-A68DB7263FD7}"/>
              </a:ext>
            </a:extLst>
          </p:cNvPr>
          <p:cNvSpPr/>
          <p:nvPr/>
        </p:nvSpPr>
        <p:spPr>
          <a:xfrm>
            <a:off x="6774953" y="1266752"/>
            <a:ext cx="153590" cy="2584722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584722"/>
                </a:lnTo>
                <a:lnTo>
                  <a:pt x="153590" y="2584722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6" name="Forme libre : forme 45">
            <a:extLst>
              <a:ext uri="{FF2B5EF4-FFF2-40B4-BE49-F238E27FC236}">
                <a16:creationId xmlns:a16="http://schemas.microsoft.com/office/drawing/2014/main" id="{4E54EF03-9DC2-4F71-B7B9-22DC182E485D}"/>
              </a:ext>
            </a:extLst>
          </p:cNvPr>
          <p:cNvSpPr/>
          <p:nvPr/>
        </p:nvSpPr>
        <p:spPr>
          <a:xfrm>
            <a:off x="6928544" y="3378623"/>
            <a:ext cx="1228724" cy="945703"/>
          </a:xfrm>
          <a:custGeom>
            <a:avLst/>
            <a:gdLst>
              <a:gd name="connsiteX0" fmla="*/ 0 w 1228724"/>
              <a:gd name="connsiteY0" fmla="*/ 94570 h 945703"/>
              <a:gd name="connsiteX1" fmla="*/ 94570 w 1228724"/>
              <a:gd name="connsiteY1" fmla="*/ 0 h 945703"/>
              <a:gd name="connsiteX2" fmla="*/ 1134154 w 1228724"/>
              <a:gd name="connsiteY2" fmla="*/ 0 h 945703"/>
              <a:gd name="connsiteX3" fmla="*/ 1228724 w 1228724"/>
              <a:gd name="connsiteY3" fmla="*/ 94570 h 945703"/>
              <a:gd name="connsiteX4" fmla="*/ 1228724 w 1228724"/>
              <a:gd name="connsiteY4" fmla="*/ 851133 h 945703"/>
              <a:gd name="connsiteX5" fmla="*/ 1134154 w 1228724"/>
              <a:gd name="connsiteY5" fmla="*/ 945703 h 945703"/>
              <a:gd name="connsiteX6" fmla="*/ 94570 w 1228724"/>
              <a:gd name="connsiteY6" fmla="*/ 945703 h 945703"/>
              <a:gd name="connsiteX7" fmla="*/ 0 w 1228724"/>
              <a:gd name="connsiteY7" fmla="*/ 851133 h 945703"/>
              <a:gd name="connsiteX8" fmla="*/ 0 w 1228724"/>
              <a:gd name="connsiteY8" fmla="*/ 94570 h 945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945703">
                <a:moveTo>
                  <a:pt x="0" y="94570"/>
                </a:moveTo>
                <a:cubicBezTo>
                  <a:pt x="0" y="42340"/>
                  <a:pt x="42340" y="0"/>
                  <a:pt x="94570" y="0"/>
                </a:cubicBezTo>
                <a:lnTo>
                  <a:pt x="1134154" y="0"/>
                </a:lnTo>
                <a:cubicBezTo>
                  <a:pt x="1186384" y="0"/>
                  <a:pt x="1228724" y="42340"/>
                  <a:pt x="1228724" y="94570"/>
                </a:cubicBezTo>
                <a:lnTo>
                  <a:pt x="1228724" y="851133"/>
                </a:lnTo>
                <a:cubicBezTo>
                  <a:pt x="1228724" y="903363"/>
                  <a:pt x="1186384" y="945703"/>
                  <a:pt x="1134154" y="945703"/>
                </a:cubicBezTo>
                <a:lnTo>
                  <a:pt x="94570" y="945703"/>
                </a:lnTo>
                <a:cubicBezTo>
                  <a:pt x="42340" y="945703"/>
                  <a:pt x="0" y="903363"/>
                  <a:pt x="0" y="851133"/>
                </a:cubicBezTo>
                <a:lnTo>
                  <a:pt x="0" y="94570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989" tIns="50559" rIns="61989" bIns="50559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>
                <a:solidFill>
                  <a:schemeClr val="accent3">
                    <a:lumMod val="50000"/>
                  </a:schemeClr>
                </a:solidFill>
              </a:rPr>
              <a:t>Assets</a:t>
            </a:r>
            <a:endParaRPr lang="fr-FR" sz="1600" kern="1200" dirty="0">
              <a:solidFill>
                <a:schemeClr val="accent3">
                  <a:lumMod val="50000"/>
                </a:schemeClr>
              </a:solidFill>
            </a:endParaRP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>
                <a:solidFill>
                  <a:schemeClr val="accent3">
                    <a:lumMod val="50000"/>
                  </a:schemeClr>
                </a:solidFill>
              </a:rPr>
              <a:t>Animations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 err="1">
                <a:solidFill>
                  <a:schemeClr val="bg1"/>
                </a:solidFill>
              </a:rPr>
              <a:t>Skybox</a:t>
            </a:r>
            <a:endParaRPr lang="fr-FR" sz="1100" kern="1200" dirty="0">
              <a:solidFill>
                <a:schemeClr val="bg1"/>
              </a:solidFill>
            </a:endParaRP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>
                <a:solidFill>
                  <a:schemeClr val="bg1"/>
                </a:solidFill>
              </a:rPr>
              <a:t>Post-process</a:t>
            </a:r>
          </a:p>
        </p:txBody>
      </p:sp>
      <p:sp>
        <p:nvSpPr>
          <p:cNvPr id="47" name="Forme libre : forme 46">
            <a:extLst>
              <a:ext uri="{FF2B5EF4-FFF2-40B4-BE49-F238E27FC236}">
                <a16:creationId xmlns:a16="http://schemas.microsoft.com/office/drawing/2014/main" id="{44BBD47A-56AE-4AB9-B939-DE517C467A88}"/>
              </a:ext>
            </a:extLst>
          </p:cNvPr>
          <p:cNvSpPr/>
          <p:nvPr/>
        </p:nvSpPr>
        <p:spPr>
          <a:xfrm>
            <a:off x="6774953" y="1266752"/>
            <a:ext cx="153590" cy="3633539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3633539"/>
                </a:lnTo>
                <a:lnTo>
                  <a:pt x="153590" y="3633539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8" name="Forme libre : forme 47">
            <a:extLst>
              <a:ext uri="{FF2B5EF4-FFF2-40B4-BE49-F238E27FC236}">
                <a16:creationId xmlns:a16="http://schemas.microsoft.com/office/drawing/2014/main" id="{0C0B99A4-07B3-4F17-AA93-052CF0DCCD33}"/>
              </a:ext>
            </a:extLst>
          </p:cNvPr>
          <p:cNvSpPr/>
          <p:nvPr/>
        </p:nvSpPr>
        <p:spPr>
          <a:xfrm>
            <a:off x="6928544" y="4516315"/>
            <a:ext cx="1228724" cy="767953"/>
          </a:xfrm>
          <a:custGeom>
            <a:avLst/>
            <a:gdLst>
              <a:gd name="connsiteX0" fmla="*/ 0 w 1228724"/>
              <a:gd name="connsiteY0" fmla="*/ 76795 h 767953"/>
              <a:gd name="connsiteX1" fmla="*/ 76795 w 1228724"/>
              <a:gd name="connsiteY1" fmla="*/ 0 h 767953"/>
              <a:gd name="connsiteX2" fmla="*/ 1151929 w 1228724"/>
              <a:gd name="connsiteY2" fmla="*/ 0 h 767953"/>
              <a:gd name="connsiteX3" fmla="*/ 1228724 w 1228724"/>
              <a:gd name="connsiteY3" fmla="*/ 76795 h 767953"/>
              <a:gd name="connsiteX4" fmla="*/ 1228724 w 1228724"/>
              <a:gd name="connsiteY4" fmla="*/ 691158 h 767953"/>
              <a:gd name="connsiteX5" fmla="*/ 1151929 w 1228724"/>
              <a:gd name="connsiteY5" fmla="*/ 767953 h 767953"/>
              <a:gd name="connsiteX6" fmla="*/ 76795 w 1228724"/>
              <a:gd name="connsiteY6" fmla="*/ 767953 h 767953"/>
              <a:gd name="connsiteX7" fmla="*/ 0 w 1228724"/>
              <a:gd name="connsiteY7" fmla="*/ 691158 h 767953"/>
              <a:gd name="connsiteX8" fmla="*/ 0 w 1228724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151929" y="0"/>
                </a:lnTo>
                <a:cubicBezTo>
                  <a:pt x="1194342" y="0"/>
                  <a:pt x="1228724" y="34382"/>
                  <a:pt x="1228724" y="76795"/>
                </a:cubicBezTo>
                <a:lnTo>
                  <a:pt x="1228724" y="691158"/>
                </a:lnTo>
                <a:cubicBezTo>
                  <a:pt x="1228724" y="733571"/>
                  <a:pt x="1194342" y="767953"/>
                  <a:pt x="1151929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783" tIns="45353" rIns="56783" bIns="45353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>
                <a:solidFill>
                  <a:schemeClr val="accent3">
                    <a:lumMod val="50000"/>
                  </a:schemeClr>
                </a:solidFill>
              </a:rPr>
              <a:t>Plusieurs niveaux</a:t>
            </a:r>
          </a:p>
        </p:txBody>
      </p:sp>
      <p:pic>
        <p:nvPicPr>
          <p:cNvPr id="4" name="Graphique 3" descr="Coche">
            <a:extLst>
              <a:ext uri="{FF2B5EF4-FFF2-40B4-BE49-F238E27FC236}">
                <a16:creationId xmlns:a16="http://schemas.microsoft.com/office/drawing/2014/main" id="{538D752A-8040-41DC-8834-9CB6A1E3A6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26558" y="1385516"/>
            <a:ext cx="914400" cy="914400"/>
          </a:xfrm>
          <a:prstGeom prst="rect">
            <a:avLst/>
          </a:prstGeom>
        </p:spPr>
      </p:pic>
      <p:pic>
        <p:nvPicPr>
          <p:cNvPr id="25" name="Graphique 24" descr="Coche">
            <a:extLst>
              <a:ext uri="{FF2B5EF4-FFF2-40B4-BE49-F238E27FC236}">
                <a16:creationId xmlns:a16="http://schemas.microsoft.com/office/drawing/2014/main" id="{5BB47A21-8B78-459F-98C8-FAA32CF98E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26558" y="2521363"/>
            <a:ext cx="914400" cy="914400"/>
          </a:xfrm>
          <a:prstGeom prst="rect">
            <a:avLst/>
          </a:prstGeom>
        </p:spPr>
      </p:pic>
      <p:pic>
        <p:nvPicPr>
          <p:cNvPr id="26" name="Graphique 25" descr="Coche">
            <a:extLst>
              <a:ext uri="{FF2B5EF4-FFF2-40B4-BE49-F238E27FC236}">
                <a16:creationId xmlns:a16="http://schemas.microsoft.com/office/drawing/2014/main" id="{53E24126-418B-4A27-AB54-B22E22CDAA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30129" y="3620540"/>
            <a:ext cx="914400" cy="914400"/>
          </a:xfrm>
          <a:prstGeom prst="rect">
            <a:avLst/>
          </a:prstGeom>
        </p:spPr>
      </p:pic>
      <p:pic>
        <p:nvPicPr>
          <p:cNvPr id="27" name="Graphique 26" descr="Coche">
            <a:extLst>
              <a:ext uri="{FF2B5EF4-FFF2-40B4-BE49-F238E27FC236}">
                <a16:creationId xmlns:a16="http://schemas.microsoft.com/office/drawing/2014/main" id="{2449926A-2C65-49BE-82A6-D0CD6AE6FB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36083" y="4672039"/>
            <a:ext cx="914400" cy="914400"/>
          </a:xfrm>
          <a:prstGeom prst="rect">
            <a:avLst/>
          </a:prstGeom>
        </p:spPr>
      </p:pic>
      <p:pic>
        <p:nvPicPr>
          <p:cNvPr id="28" name="Graphique 27" descr="Coche">
            <a:extLst>
              <a:ext uri="{FF2B5EF4-FFF2-40B4-BE49-F238E27FC236}">
                <a16:creationId xmlns:a16="http://schemas.microsoft.com/office/drawing/2014/main" id="{B329A272-D207-402A-9D6D-ECF05AE392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36083" y="5807884"/>
            <a:ext cx="914400" cy="914400"/>
          </a:xfrm>
          <a:prstGeom prst="rect">
            <a:avLst/>
          </a:prstGeom>
        </p:spPr>
      </p:pic>
      <p:pic>
        <p:nvPicPr>
          <p:cNvPr id="49" name="Graphique 48" descr="Coche">
            <a:extLst>
              <a:ext uri="{FF2B5EF4-FFF2-40B4-BE49-F238E27FC236}">
                <a16:creationId xmlns:a16="http://schemas.microsoft.com/office/drawing/2014/main" id="{DE4E6D88-3426-44ED-B81C-E84C76E14D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26558" y="1385518"/>
            <a:ext cx="914400" cy="914400"/>
          </a:xfrm>
          <a:prstGeom prst="rect">
            <a:avLst/>
          </a:prstGeom>
        </p:spPr>
      </p:pic>
      <p:pic>
        <p:nvPicPr>
          <p:cNvPr id="6" name="Graphique 5" descr="Fermer">
            <a:extLst>
              <a:ext uri="{FF2B5EF4-FFF2-40B4-BE49-F238E27FC236}">
                <a16:creationId xmlns:a16="http://schemas.microsoft.com/office/drawing/2014/main" id="{BB79ADFD-0235-42AC-9E45-B2A9F31F7F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12817" y="1385516"/>
            <a:ext cx="914400" cy="914400"/>
          </a:xfrm>
          <a:prstGeom prst="rect">
            <a:avLst/>
          </a:prstGeom>
        </p:spPr>
      </p:pic>
      <p:pic>
        <p:nvPicPr>
          <p:cNvPr id="50" name="Graphique 49" descr="Coche">
            <a:extLst>
              <a:ext uri="{FF2B5EF4-FFF2-40B4-BE49-F238E27FC236}">
                <a16:creationId xmlns:a16="http://schemas.microsoft.com/office/drawing/2014/main" id="{F0B02942-EA73-442B-89B0-1626FE70AA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40091" y="3869946"/>
            <a:ext cx="271752" cy="271752"/>
          </a:xfrm>
          <a:prstGeom prst="rect">
            <a:avLst/>
          </a:prstGeom>
        </p:spPr>
      </p:pic>
      <p:pic>
        <p:nvPicPr>
          <p:cNvPr id="51" name="Graphique 50" descr="Coche">
            <a:extLst>
              <a:ext uri="{FF2B5EF4-FFF2-40B4-BE49-F238E27FC236}">
                <a16:creationId xmlns:a16="http://schemas.microsoft.com/office/drawing/2014/main" id="{EB4B2F7C-A4EE-4075-BDBC-B570EAA3C7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40092" y="4034972"/>
            <a:ext cx="271752" cy="27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92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FC2548F-E28E-43BC-AFE7-6B725186C2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7650" y="365125"/>
            <a:ext cx="9118600" cy="1325563"/>
          </a:xfrm>
        </p:spPr>
        <p:txBody>
          <a:bodyPr/>
          <a:lstStyle/>
          <a:p>
            <a:r>
              <a:rPr lang="fr-FR" dirty="0"/>
              <a:t>Bilan</a:t>
            </a:r>
          </a:p>
        </p:txBody>
      </p:sp>
      <p:pic>
        <p:nvPicPr>
          <p:cNvPr id="5" name="Graphique 4" descr="Horloge">
            <a:extLst>
              <a:ext uri="{FF2B5EF4-FFF2-40B4-BE49-F238E27FC236}">
                <a16:creationId xmlns:a16="http://schemas.microsoft.com/office/drawing/2014/main" id="{3F921AFE-E2AF-4C19-8C7C-4F2454D283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66711" y="3618257"/>
            <a:ext cx="914400" cy="914400"/>
          </a:xfrm>
          <a:prstGeom prst="rect">
            <a:avLst/>
          </a:prstGeom>
        </p:spPr>
      </p:pic>
      <p:grpSp>
        <p:nvGrpSpPr>
          <p:cNvPr id="6" name="Clapboard">
            <a:extLst>
              <a:ext uri="{FF2B5EF4-FFF2-40B4-BE49-F238E27FC236}">
                <a16:creationId xmlns:a16="http://schemas.microsoft.com/office/drawing/2014/main" id="{CEF9E07A-7C90-458B-88B2-78896139F6B0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480104" y="3803994"/>
            <a:ext cx="571294" cy="542925"/>
            <a:chOff x="2347" y="740"/>
            <a:chExt cx="2779" cy="2641"/>
          </a:xfrm>
          <a:solidFill>
            <a:schemeClr val="accent1"/>
          </a:solidFill>
        </p:grpSpPr>
        <p:sp>
          <p:nvSpPr>
            <p:cNvPr id="7" name="Freeform 252">
              <a:extLst>
                <a:ext uri="{FF2B5EF4-FFF2-40B4-BE49-F238E27FC236}">
                  <a16:creationId xmlns:a16="http://schemas.microsoft.com/office/drawing/2014/main" id="{F55713E3-264E-427D-B9A4-1E349C423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1790"/>
              <a:ext cx="2648" cy="1591"/>
            </a:xfrm>
            <a:custGeom>
              <a:avLst/>
              <a:gdLst>
                <a:gd name="T0" fmla="*/ 0 w 667"/>
                <a:gd name="T1" fmla="*/ 117 h 400"/>
                <a:gd name="T2" fmla="*/ 0 w 667"/>
                <a:gd name="T3" fmla="*/ 367 h 400"/>
                <a:gd name="T4" fmla="*/ 33 w 667"/>
                <a:gd name="T5" fmla="*/ 400 h 400"/>
                <a:gd name="T6" fmla="*/ 633 w 667"/>
                <a:gd name="T7" fmla="*/ 400 h 400"/>
                <a:gd name="T8" fmla="*/ 667 w 667"/>
                <a:gd name="T9" fmla="*/ 367 h 400"/>
                <a:gd name="T10" fmla="*/ 667 w 667"/>
                <a:gd name="T11" fmla="*/ 117 h 400"/>
                <a:gd name="T12" fmla="*/ 667 w 667"/>
                <a:gd name="T13" fmla="*/ 72 h 400"/>
                <a:gd name="T14" fmla="*/ 622 w 667"/>
                <a:gd name="T15" fmla="*/ 117 h 400"/>
                <a:gd name="T16" fmla="*/ 522 w 667"/>
                <a:gd name="T17" fmla="*/ 117 h 400"/>
                <a:gd name="T18" fmla="*/ 639 w 667"/>
                <a:gd name="T19" fmla="*/ 0 h 400"/>
                <a:gd name="T20" fmla="*/ 545 w 667"/>
                <a:gd name="T21" fmla="*/ 0 h 400"/>
                <a:gd name="T22" fmla="*/ 428 w 667"/>
                <a:gd name="T23" fmla="*/ 117 h 400"/>
                <a:gd name="T24" fmla="*/ 322 w 667"/>
                <a:gd name="T25" fmla="*/ 117 h 400"/>
                <a:gd name="T26" fmla="*/ 439 w 667"/>
                <a:gd name="T27" fmla="*/ 0 h 400"/>
                <a:gd name="T28" fmla="*/ 345 w 667"/>
                <a:gd name="T29" fmla="*/ 0 h 400"/>
                <a:gd name="T30" fmla="*/ 228 w 667"/>
                <a:gd name="T31" fmla="*/ 117 h 400"/>
                <a:gd name="T32" fmla="*/ 122 w 667"/>
                <a:gd name="T33" fmla="*/ 117 h 400"/>
                <a:gd name="T34" fmla="*/ 239 w 667"/>
                <a:gd name="T35" fmla="*/ 0 h 400"/>
                <a:gd name="T36" fmla="*/ 145 w 667"/>
                <a:gd name="T37" fmla="*/ 0 h 400"/>
                <a:gd name="T38" fmla="*/ 28 w 667"/>
                <a:gd name="T39" fmla="*/ 117 h 400"/>
                <a:gd name="T40" fmla="*/ 0 w 667"/>
                <a:gd name="T41" fmla="*/ 117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67" h="400">
                  <a:moveTo>
                    <a:pt x="0" y="117"/>
                  </a:moveTo>
                  <a:lnTo>
                    <a:pt x="0" y="367"/>
                  </a:lnTo>
                  <a:cubicBezTo>
                    <a:pt x="0" y="385"/>
                    <a:pt x="15" y="400"/>
                    <a:pt x="33" y="400"/>
                  </a:cubicBezTo>
                  <a:lnTo>
                    <a:pt x="633" y="400"/>
                  </a:lnTo>
                  <a:cubicBezTo>
                    <a:pt x="652" y="400"/>
                    <a:pt x="667" y="385"/>
                    <a:pt x="667" y="367"/>
                  </a:cubicBezTo>
                  <a:lnTo>
                    <a:pt x="667" y="117"/>
                  </a:lnTo>
                  <a:lnTo>
                    <a:pt x="667" y="72"/>
                  </a:lnTo>
                  <a:lnTo>
                    <a:pt x="622" y="117"/>
                  </a:lnTo>
                  <a:lnTo>
                    <a:pt x="522" y="117"/>
                  </a:lnTo>
                  <a:lnTo>
                    <a:pt x="639" y="0"/>
                  </a:lnTo>
                  <a:lnTo>
                    <a:pt x="545" y="0"/>
                  </a:lnTo>
                  <a:lnTo>
                    <a:pt x="428" y="117"/>
                  </a:lnTo>
                  <a:lnTo>
                    <a:pt x="322" y="117"/>
                  </a:lnTo>
                  <a:lnTo>
                    <a:pt x="439" y="0"/>
                  </a:lnTo>
                  <a:lnTo>
                    <a:pt x="345" y="0"/>
                  </a:lnTo>
                  <a:lnTo>
                    <a:pt x="228" y="117"/>
                  </a:lnTo>
                  <a:lnTo>
                    <a:pt x="122" y="117"/>
                  </a:lnTo>
                  <a:lnTo>
                    <a:pt x="239" y="0"/>
                  </a:lnTo>
                  <a:lnTo>
                    <a:pt x="145" y="0"/>
                  </a:lnTo>
                  <a:lnTo>
                    <a:pt x="28" y="117"/>
                  </a:lnTo>
                  <a:lnTo>
                    <a:pt x="0" y="1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253">
              <a:extLst>
                <a:ext uri="{FF2B5EF4-FFF2-40B4-BE49-F238E27FC236}">
                  <a16:creationId xmlns:a16="http://schemas.microsoft.com/office/drawing/2014/main" id="{E07A2D54-FCAF-46AF-BB53-DC31D872B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9" y="998"/>
              <a:ext cx="794" cy="708"/>
            </a:xfrm>
            <a:custGeom>
              <a:avLst/>
              <a:gdLst>
                <a:gd name="T0" fmla="*/ 405 w 794"/>
                <a:gd name="T1" fmla="*/ 625 h 708"/>
                <a:gd name="T2" fmla="*/ 794 w 794"/>
                <a:gd name="T3" fmla="*/ 0 h 708"/>
                <a:gd name="T4" fmla="*/ 389 w 794"/>
                <a:gd name="T5" fmla="*/ 84 h 708"/>
                <a:gd name="T6" fmla="*/ 0 w 794"/>
                <a:gd name="T7" fmla="*/ 708 h 708"/>
                <a:gd name="T8" fmla="*/ 405 w 794"/>
                <a:gd name="T9" fmla="*/ 625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4" h="708">
                  <a:moveTo>
                    <a:pt x="405" y="625"/>
                  </a:moveTo>
                  <a:lnTo>
                    <a:pt x="794" y="0"/>
                  </a:lnTo>
                  <a:lnTo>
                    <a:pt x="389" y="84"/>
                  </a:lnTo>
                  <a:lnTo>
                    <a:pt x="0" y="708"/>
                  </a:lnTo>
                  <a:lnTo>
                    <a:pt x="405" y="62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254">
              <a:extLst>
                <a:ext uri="{FF2B5EF4-FFF2-40B4-BE49-F238E27FC236}">
                  <a16:creationId xmlns:a16="http://schemas.microsoft.com/office/drawing/2014/main" id="{AF9146BA-6831-4624-A65B-C784645FC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1" y="839"/>
              <a:ext cx="794" cy="708"/>
            </a:xfrm>
            <a:custGeom>
              <a:avLst/>
              <a:gdLst>
                <a:gd name="T0" fmla="*/ 405 w 794"/>
                <a:gd name="T1" fmla="*/ 625 h 708"/>
                <a:gd name="T2" fmla="*/ 794 w 794"/>
                <a:gd name="T3" fmla="*/ 0 h 708"/>
                <a:gd name="T4" fmla="*/ 389 w 794"/>
                <a:gd name="T5" fmla="*/ 84 h 708"/>
                <a:gd name="T6" fmla="*/ 0 w 794"/>
                <a:gd name="T7" fmla="*/ 708 h 708"/>
                <a:gd name="T8" fmla="*/ 405 w 794"/>
                <a:gd name="T9" fmla="*/ 625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4" h="708">
                  <a:moveTo>
                    <a:pt x="405" y="625"/>
                  </a:moveTo>
                  <a:lnTo>
                    <a:pt x="794" y="0"/>
                  </a:lnTo>
                  <a:lnTo>
                    <a:pt x="389" y="84"/>
                  </a:lnTo>
                  <a:lnTo>
                    <a:pt x="0" y="708"/>
                  </a:lnTo>
                  <a:lnTo>
                    <a:pt x="405" y="62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255">
              <a:extLst>
                <a:ext uri="{FF2B5EF4-FFF2-40B4-BE49-F238E27FC236}">
                  <a16:creationId xmlns:a16="http://schemas.microsoft.com/office/drawing/2014/main" id="{250B680E-181F-48E7-9E7E-295905C4F6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" y="740"/>
              <a:ext cx="667" cy="648"/>
            </a:xfrm>
            <a:custGeom>
              <a:avLst/>
              <a:gdLst>
                <a:gd name="T0" fmla="*/ 102 w 168"/>
                <a:gd name="T1" fmla="*/ 142 h 163"/>
                <a:gd name="T2" fmla="*/ 168 w 168"/>
                <a:gd name="T3" fmla="*/ 128 h 163"/>
                <a:gd name="T4" fmla="*/ 153 w 168"/>
                <a:gd name="T5" fmla="*/ 60 h 163"/>
                <a:gd name="T6" fmla="*/ 147 w 168"/>
                <a:gd name="T7" fmla="*/ 30 h 163"/>
                <a:gd name="T8" fmla="*/ 108 w 168"/>
                <a:gd name="T9" fmla="*/ 4 h 163"/>
                <a:gd name="T10" fmla="*/ 98 w 168"/>
                <a:gd name="T11" fmla="*/ 6 h 163"/>
                <a:gd name="T12" fmla="*/ 0 w 168"/>
                <a:gd name="T13" fmla="*/ 163 h 163"/>
                <a:gd name="T14" fmla="*/ 102 w 168"/>
                <a:gd name="T15" fmla="*/ 14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8" h="163">
                  <a:moveTo>
                    <a:pt x="102" y="142"/>
                  </a:moveTo>
                  <a:lnTo>
                    <a:pt x="168" y="128"/>
                  </a:lnTo>
                  <a:lnTo>
                    <a:pt x="153" y="60"/>
                  </a:lnTo>
                  <a:lnTo>
                    <a:pt x="147" y="30"/>
                  </a:lnTo>
                  <a:cubicBezTo>
                    <a:pt x="143" y="12"/>
                    <a:pt x="126" y="0"/>
                    <a:pt x="108" y="4"/>
                  </a:cubicBezTo>
                  <a:lnTo>
                    <a:pt x="98" y="6"/>
                  </a:lnTo>
                  <a:lnTo>
                    <a:pt x="0" y="163"/>
                  </a:lnTo>
                  <a:lnTo>
                    <a:pt x="102" y="142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 256">
              <a:extLst>
                <a:ext uri="{FF2B5EF4-FFF2-40B4-BE49-F238E27FC236}">
                  <a16:creationId xmlns:a16="http://schemas.microsoft.com/office/drawing/2014/main" id="{0959A8B8-B4AF-43B7-844F-F41843958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7" y="1157"/>
              <a:ext cx="564" cy="832"/>
            </a:xfrm>
            <a:custGeom>
              <a:avLst/>
              <a:gdLst>
                <a:gd name="T0" fmla="*/ 0 w 142"/>
                <a:gd name="T1" fmla="*/ 159 h 209"/>
                <a:gd name="T2" fmla="*/ 33 w 142"/>
                <a:gd name="T3" fmla="*/ 206 h 209"/>
                <a:gd name="T4" fmla="*/ 50 w 142"/>
                <a:gd name="T5" fmla="*/ 209 h 209"/>
                <a:gd name="T6" fmla="*/ 100 w 142"/>
                <a:gd name="T7" fmla="*/ 159 h 209"/>
                <a:gd name="T8" fmla="*/ 98 w 142"/>
                <a:gd name="T9" fmla="*/ 146 h 209"/>
                <a:gd name="T10" fmla="*/ 71 w 142"/>
                <a:gd name="T11" fmla="*/ 114 h 209"/>
                <a:gd name="T12" fmla="*/ 142 w 142"/>
                <a:gd name="T13" fmla="*/ 0 h 209"/>
                <a:gd name="T14" fmla="*/ 38 w 142"/>
                <a:gd name="T15" fmla="*/ 22 h 209"/>
                <a:gd name="T16" fmla="*/ 13 w 142"/>
                <a:gd name="T17" fmla="*/ 61 h 209"/>
                <a:gd name="T18" fmla="*/ 24 w 142"/>
                <a:gd name="T19" fmla="*/ 116 h 209"/>
                <a:gd name="T20" fmla="*/ 0 w 142"/>
                <a:gd name="T21" fmla="*/ 15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2" h="209">
                  <a:moveTo>
                    <a:pt x="0" y="159"/>
                  </a:moveTo>
                  <a:cubicBezTo>
                    <a:pt x="0" y="181"/>
                    <a:pt x="14" y="199"/>
                    <a:pt x="33" y="206"/>
                  </a:cubicBezTo>
                  <a:cubicBezTo>
                    <a:pt x="38" y="208"/>
                    <a:pt x="44" y="209"/>
                    <a:pt x="50" y="209"/>
                  </a:cubicBezTo>
                  <a:cubicBezTo>
                    <a:pt x="77" y="209"/>
                    <a:pt x="100" y="187"/>
                    <a:pt x="100" y="159"/>
                  </a:cubicBezTo>
                  <a:cubicBezTo>
                    <a:pt x="100" y="154"/>
                    <a:pt x="99" y="150"/>
                    <a:pt x="98" y="146"/>
                  </a:cubicBezTo>
                  <a:cubicBezTo>
                    <a:pt x="94" y="131"/>
                    <a:pt x="84" y="120"/>
                    <a:pt x="71" y="114"/>
                  </a:cubicBezTo>
                  <a:lnTo>
                    <a:pt x="142" y="0"/>
                  </a:lnTo>
                  <a:lnTo>
                    <a:pt x="38" y="22"/>
                  </a:lnTo>
                  <a:cubicBezTo>
                    <a:pt x="20" y="25"/>
                    <a:pt x="9" y="43"/>
                    <a:pt x="13" y="61"/>
                  </a:cubicBezTo>
                  <a:lnTo>
                    <a:pt x="24" y="116"/>
                  </a:lnTo>
                  <a:cubicBezTo>
                    <a:pt x="10" y="125"/>
                    <a:pt x="0" y="141"/>
                    <a:pt x="0" y="15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4" name="Graphique 13" descr="Clôture">
            <a:extLst>
              <a:ext uri="{FF2B5EF4-FFF2-40B4-BE49-F238E27FC236}">
                <a16:creationId xmlns:a16="http://schemas.microsoft.com/office/drawing/2014/main" id="{7DAA6721-C0D3-4F54-9AD8-B4A988CD276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77321" y="3618257"/>
            <a:ext cx="914400" cy="914400"/>
          </a:xfrm>
          <a:prstGeom prst="rect">
            <a:avLst/>
          </a:prstGeom>
        </p:spPr>
      </p:pic>
      <p:pic>
        <p:nvPicPr>
          <p:cNvPr id="18" name="Graphique 17" descr="Visage triste noir">
            <a:extLst>
              <a:ext uri="{FF2B5EF4-FFF2-40B4-BE49-F238E27FC236}">
                <a16:creationId xmlns:a16="http://schemas.microsoft.com/office/drawing/2014/main" id="{C5FD94A7-312C-4465-85C7-64733A67D25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113937" y="1182057"/>
            <a:ext cx="1277519" cy="1277519"/>
          </a:xfrm>
          <a:prstGeom prst="rect">
            <a:avLst/>
          </a:prstGeom>
        </p:spPr>
      </p:pic>
      <p:pic>
        <p:nvPicPr>
          <p:cNvPr id="20" name="Graphique 19" descr="Visage noir portant des lunettes de soleil">
            <a:extLst>
              <a:ext uri="{FF2B5EF4-FFF2-40B4-BE49-F238E27FC236}">
                <a16:creationId xmlns:a16="http://schemas.microsoft.com/office/drawing/2014/main" id="{E8F8AB8A-3193-41AB-8AEC-5BF20902969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42105" y="1182057"/>
            <a:ext cx="1277518" cy="1277518"/>
          </a:xfrm>
          <a:prstGeom prst="rect">
            <a:avLst/>
          </a:prstGeom>
        </p:spPr>
      </p:pic>
      <p:cxnSp>
        <p:nvCxnSpPr>
          <p:cNvPr id="44" name="Connecteur droit 43">
            <a:extLst>
              <a:ext uri="{FF2B5EF4-FFF2-40B4-BE49-F238E27FC236}">
                <a16:creationId xmlns:a16="http://schemas.microsoft.com/office/drawing/2014/main" id="{78B96633-5925-4703-A4AD-EC1F34FCE359}"/>
              </a:ext>
            </a:extLst>
          </p:cNvPr>
          <p:cNvCxnSpPr/>
          <p:nvPr/>
        </p:nvCxnSpPr>
        <p:spPr>
          <a:xfrm>
            <a:off x="1766711" y="2596444"/>
            <a:ext cx="865857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E3D3C50F-AC5F-4847-96BD-88DA5B003CC9}"/>
              </a:ext>
            </a:extLst>
          </p:cNvPr>
          <p:cNvCxnSpPr/>
          <p:nvPr/>
        </p:nvCxnSpPr>
        <p:spPr>
          <a:xfrm>
            <a:off x="6096000" y="1164256"/>
            <a:ext cx="0" cy="48123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91675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FC2548F-E28E-43BC-AFE7-6B725186C2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7650" y="365125"/>
            <a:ext cx="9118600" cy="1325563"/>
          </a:xfrm>
        </p:spPr>
        <p:txBody>
          <a:bodyPr/>
          <a:lstStyle/>
          <a:p>
            <a:r>
              <a:rPr lang="fr-FR" dirty="0"/>
              <a:t>Bilan</a:t>
            </a:r>
          </a:p>
        </p:txBody>
      </p:sp>
      <p:pic>
        <p:nvPicPr>
          <p:cNvPr id="14" name="Graphique 13" descr="Clôture">
            <a:extLst>
              <a:ext uri="{FF2B5EF4-FFF2-40B4-BE49-F238E27FC236}">
                <a16:creationId xmlns:a16="http://schemas.microsoft.com/office/drawing/2014/main" id="{7DAA6721-C0D3-4F54-9AD8-B4A988CD27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8752" y="3618257"/>
            <a:ext cx="914400" cy="914400"/>
          </a:xfrm>
          <a:prstGeom prst="rect">
            <a:avLst/>
          </a:prstGeom>
        </p:spPr>
      </p:pic>
      <p:pic>
        <p:nvPicPr>
          <p:cNvPr id="24" name="Graphique 23" descr="Flèche : courbe dans le sens des aiguilles d’une montre">
            <a:extLst>
              <a:ext uri="{FF2B5EF4-FFF2-40B4-BE49-F238E27FC236}">
                <a16:creationId xmlns:a16="http://schemas.microsoft.com/office/drawing/2014/main" id="{FD3A8D5C-4F2A-4EF0-9066-315712EB79B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10250475" y="3113227"/>
            <a:ext cx="914400" cy="914400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15EB1F63-70FE-4E57-8D34-A3246C0594A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0606" y="3570427"/>
            <a:ext cx="956620" cy="956620"/>
          </a:xfrm>
          <a:prstGeom prst="rect">
            <a:avLst/>
          </a:prstGeom>
        </p:spPr>
      </p:pic>
      <p:pic>
        <p:nvPicPr>
          <p:cNvPr id="28" name="Graphique 27" descr="Tchin-tchin">
            <a:extLst>
              <a:ext uri="{FF2B5EF4-FFF2-40B4-BE49-F238E27FC236}">
                <a16:creationId xmlns:a16="http://schemas.microsoft.com/office/drawing/2014/main" id="{CF0989E8-B0BE-4E83-A48E-77DDB01F1A2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633455" y="3570427"/>
            <a:ext cx="967843" cy="967843"/>
          </a:xfrm>
          <a:prstGeom prst="rect">
            <a:avLst/>
          </a:prstGeom>
        </p:spPr>
      </p:pic>
      <p:pic>
        <p:nvPicPr>
          <p:cNvPr id="30" name="Graphique 29" descr="Croissance commerciale">
            <a:extLst>
              <a:ext uri="{FF2B5EF4-FFF2-40B4-BE49-F238E27FC236}">
                <a16:creationId xmlns:a16="http://schemas.microsoft.com/office/drawing/2014/main" id="{B508CDF4-0346-4C6A-8F2A-7A570CA5734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138752" y="4527047"/>
            <a:ext cx="914400" cy="914400"/>
          </a:xfrm>
          <a:prstGeom prst="rect">
            <a:avLst/>
          </a:prstGeom>
        </p:spPr>
      </p:pic>
      <p:grpSp>
        <p:nvGrpSpPr>
          <p:cNvPr id="32" name="Video_Games3">
            <a:extLst>
              <a:ext uri="{FF2B5EF4-FFF2-40B4-BE49-F238E27FC236}">
                <a16:creationId xmlns:a16="http://schemas.microsoft.com/office/drawing/2014/main" id="{E2CD3329-2BC7-404F-A49A-C1DCE70137F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8244863" y="2935995"/>
            <a:ext cx="702178" cy="542925"/>
            <a:chOff x="2922" y="2234"/>
            <a:chExt cx="1918" cy="1483"/>
          </a:xfrm>
          <a:solidFill>
            <a:schemeClr val="accent1"/>
          </a:solidFill>
        </p:grpSpPr>
        <p:sp>
          <p:nvSpPr>
            <p:cNvPr id="33" name="Freeform 222">
              <a:extLst>
                <a:ext uri="{FF2B5EF4-FFF2-40B4-BE49-F238E27FC236}">
                  <a16:creationId xmlns:a16="http://schemas.microsoft.com/office/drawing/2014/main" id="{A69FBA88-03E5-45BB-A050-964358FD3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1" y="2932"/>
              <a:ext cx="97" cy="96"/>
            </a:xfrm>
            <a:custGeom>
              <a:avLst/>
              <a:gdLst>
                <a:gd name="T0" fmla="*/ 241 w 241"/>
                <a:gd name="T1" fmla="*/ 237 h 237"/>
                <a:gd name="T2" fmla="*/ 0 w 241"/>
                <a:gd name="T3" fmla="*/ 0 h 237"/>
                <a:gd name="T4" fmla="*/ 0 w 241"/>
                <a:gd name="T5" fmla="*/ 237 h 237"/>
                <a:gd name="T6" fmla="*/ 241 w 241"/>
                <a:gd name="T7" fmla="*/ 23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1" h="237">
                  <a:moveTo>
                    <a:pt x="241" y="237"/>
                  </a:moveTo>
                  <a:cubicBezTo>
                    <a:pt x="209" y="122"/>
                    <a:pt x="117" y="31"/>
                    <a:pt x="0" y="0"/>
                  </a:cubicBezTo>
                  <a:lnTo>
                    <a:pt x="0" y="237"/>
                  </a:lnTo>
                  <a:lnTo>
                    <a:pt x="241" y="23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223">
              <a:extLst>
                <a:ext uri="{FF2B5EF4-FFF2-40B4-BE49-F238E27FC236}">
                  <a16:creationId xmlns:a16="http://schemas.microsoft.com/office/drawing/2014/main" id="{466FA8A9-5493-490E-A2F3-93412E6573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22" y="2234"/>
              <a:ext cx="1918" cy="1483"/>
            </a:xfrm>
            <a:custGeom>
              <a:avLst/>
              <a:gdLst>
                <a:gd name="T0" fmla="*/ 4552 w 4747"/>
                <a:gd name="T1" fmla="*/ 1524 h 3666"/>
                <a:gd name="T2" fmla="*/ 3527 w 4747"/>
                <a:gd name="T3" fmla="*/ 18 h 3666"/>
                <a:gd name="T4" fmla="*/ 2481 w 4747"/>
                <a:gd name="T5" fmla="*/ 395 h 3666"/>
                <a:gd name="T6" fmla="*/ 2298 w 4747"/>
                <a:gd name="T7" fmla="*/ 395 h 3666"/>
                <a:gd name="T8" fmla="*/ 1252 w 4747"/>
                <a:gd name="T9" fmla="*/ 18 h 3666"/>
                <a:gd name="T10" fmla="*/ 226 w 4747"/>
                <a:gd name="T11" fmla="*/ 1524 h 3666"/>
                <a:gd name="T12" fmla="*/ 830 w 4747"/>
                <a:gd name="T13" fmla="*/ 3346 h 3666"/>
                <a:gd name="T14" fmla="*/ 2097 w 4747"/>
                <a:gd name="T15" fmla="*/ 2671 h 3666"/>
                <a:gd name="T16" fmla="*/ 2682 w 4747"/>
                <a:gd name="T17" fmla="*/ 2671 h 3666"/>
                <a:gd name="T18" fmla="*/ 3949 w 4747"/>
                <a:gd name="T19" fmla="*/ 3346 h 3666"/>
                <a:gd name="T20" fmla="*/ 4552 w 4747"/>
                <a:gd name="T21" fmla="*/ 1524 h 3666"/>
                <a:gd name="T22" fmla="*/ 823 w 4747"/>
                <a:gd name="T23" fmla="*/ 1223 h 3666"/>
                <a:gd name="T24" fmla="*/ 1152 w 4747"/>
                <a:gd name="T25" fmla="*/ 899 h 3666"/>
                <a:gd name="T26" fmla="*/ 1480 w 4747"/>
                <a:gd name="T27" fmla="*/ 1223 h 3666"/>
                <a:gd name="T28" fmla="*/ 1152 w 4747"/>
                <a:gd name="T29" fmla="*/ 1546 h 3666"/>
                <a:gd name="T30" fmla="*/ 823 w 4747"/>
                <a:gd name="T31" fmla="*/ 1223 h 3666"/>
                <a:gd name="T32" fmla="*/ 2088 w 4747"/>
                <a:gd name="T33" fmla="*/ 2128 h 3666"/>
                <a:gd name="T34" fmla="*/ 2084 w 4747"/>
                <a:gd name="T35" fmla="*/ 2143 h 3666"/>
                <a:gd name="T36" fmla="*/ 1828 w 4747"/>
                <a:gd name="T37" fmla="*/ 2394 h 3666"/>
                <a:gd name="T38" fmla="*/ 1805 w 4747"/>
                <a:gd name="T39" fmla="*/ 2399 h 3666"/>
                <a:gd name="T40" fmla="*/ 1737 w 4747"/>
                <a:gd name="T41" fmla="*/ 2406 h 3666"/>
                <a:gd name="T42" fmla="*/ 1669 w 4747"/>
                <a:gd name="T43" fmla="*/ 2399 h 3666"/>
                <a:gd name="T44" fmla="*/ 1644 w 4747"/>
                <a:gd name="T45" fmla="*/ 2394 h 3666"/>
                <a:gd name="T46" fmla="*/ 1390 w 4747"/>
                <a:gd name="T47" fmla="*/ 2143 h 3666"/>
                <a:gd name="T48" fmla="*/ 1384 w 4747"/>
                <a:gd name="T49" fmla="*/ 2116 h 3666"/>
                <a:gd name="T50" fmla="*/ 1377 w 4747"/>
                <a:gd name="T51" fmla="*/ 2052 h 3666"/>
                <a:gd name="T52" fmla="*/ 1384 w 4747"/>
                <a:gd name="T53" fmla="*/ 1988 h 3666"/>
                <a:gd name="T54" fmla="*/ 1390 w 4747"/>
                <a:gd name="T55" fmla="*/ 1962 h 3666"/>
                <a:gd name="T56" fmla="*/ 1644 w 4747"/>
                <a:gd name="T57" fmla="*/ 1710 h 3666"/>
                <a:gd name="T58" fmla="*/ 1662 w 4747"/>
                <a:gd name="T59" fmla="*/ 1706 h 3666"/>
                <a:gd name="T60" fmla="*/ 1737 w 4747"/>
                <a:gd name="T61" fmla="*/ 1698 h 3666"/>
                <a:gd name="T62" fmla="*/ 1813 w 4747"/>
                <a:gd name="T63" fmla="*/ 1706 h 3666"/>
                <a:gd name="T64" fmla="*/ 1828 w 4747"/>
                <a:gd name="T65" fmla="*/ 1709 h 3666"/>
                <a:gd name="T66" fmla="*/ 2085 w 4747"/>
                <a:gd name="T67" fmla="*/ 1962 h 3666"/>
                <a:gd name="T68" fmla="*/ 2088 w 4747"/>
                <a:gd name="T69" fmla="*/ 1975 h 3666"/>
                <a:gd name="T70" fmla="*/ 2097 w 4747"/>
                <a:gd name="T71" fmla="*/ 2052 h 3666"/>
                <a:gd name="T72" fmla="*/ 2088 w 4747"/>
                <a:gd name="T73" fmla="*/ 2128 h 3666"/>
                <a:gd name="T74" fmla="*/ 3590 w 4747"/>
                <a:gd name="T75" fmla="*/ 957 h 3666"/>
                <a:gd name="T76" fmla="*/ 3719 w 4747"/>
                <a:gd name="T77" fmla="*/ 1085 h 3666"/>
                <a:gd name="T78" fmla="*/ 3590 w 4747"/>
                <a:gd name="T79" fmla="*/ 1212 h 3666"/>
                <a:gd name="T80" fmla="*/ 3461 w 4747"/>
                <a:gd name="T81" fmla="*/ 1085 h 3666"/>
                <a:gd name="T82" fmla="*/ 3590 w 4747"/>
                <a:gd name="T83" fmla="*/ 957 h 3666"/>
                <a:gd name="T84" fmla="*/ 3047 w 4747"/>
                <a:gd name="T85" fmla="*/ 2352 h 3666"/>
                <a:gd name="T86" fmla="*/ 2718 w 4747"/>
                <a:gd name="T87" fmla="*/ 2029 h 3666"/>
                <a:gd name="T88" fmla="*/ 3047 w 4747"/>
                <a:gd name="T89" fmla="*/ 1705 h 3666"/>
                <a:gd name="T90" fmla="*/ 3375 w 4747"/>
                <a:gd name="T91" fmla="*/ 2029 h 3666"/>
                <a:gd name="T92" fmla="*/ 3047 w 4747"/>
                <a:gd name="T93" fmla="*/ 2352 h 3666"/>
                <a:gd name="T94" fmla="*/ 3332 w 4747"/>
                <a:gd name="T95" fmla="*/ 1466 h 3666"/>
                <a:gd name="T96" fmla="*/ 3203 w 4747"/>
                <a:gd name="T97" fmla="*/ 1339 h 3666"/>
                <a:gd name="T98" fmla="*/ 3332 w 4747"/>
                <a:gd name="T99" fmla="*/ 1212 h 3666"/>
                <a:gd name="T100" fmla="*/ 3461 w 4747"/>
                <a:gd name="T101" fmla="*/ 1339 h 3666"/>
                <a:gd name="T102" fmla="*/ 3332 w 4747"/>
                <a:gd name="T103" fmla="*/ 1466 h 3666"/>
                <a:gd name="T104" fmla="*/ 3590 w 4747"/>
                <a:gd name="T105" fmla="*/ 1721 h 3666"/>
                <a:gd name="T106" fmla="*/ 3461 w 4747"/>
                <a:gd name="T107" fmla="*/ 1593 h 3666"/>
                <a:gd name="T108" fmla="*/ 3590 w 4747"/>
                <a:gd name="T109" fmla="*/ 1466 h 3666"/>
                <a:gd name="T110" fmla="*/ 3719 w 4747"/>
                <a:gd name="T111" fmla="*/ 1593 h 3666"/>
                <a:gd name="T112" fmla="*/ 3590 w 4747"/>
                <a:gd name="T113" fmla="*/ 1721 h 3666"/>
                <a:gd name="T114" fmla="*/ 3848 w 4747"/>
                <a:gd name="T115" fmla="*/ 1466 h 3666"/>
                <a:gd name="T116" fmla="*/ 3719 w 4747"/>
                <a:gd name="T117" fmla="*/ 1339 h 3666"/>
                <a:gd name="T118" fmla="*/ 3848 w 4747"/>
                <a:gd name="T119" fmla="*/ 1212 h 3666"/>
                <a:gd name="T120" fmla="*/ 3978 w 4747"/>
                <a:gd name="T121" fmla="*/ 1339 h 3666"/>
                <a:gd name="T122" fmla="*/ 3848 w 4747"/>
                <a:gd name="T123" fmla="*/ 1466 h 3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747" h="3666">
                  <a:moveTo>
                    <a:pt x="4552" y="1524"/>
                  </a:moveTo>
                  <a:cubicBezTo>
                    <a:pt x="4442" y="947"/>
                    <a:pt x="4183" y="0"/>
                    <a:pt x="3527" y="18"/>
                  </a:cubicBezTo>
                  <a:cubicBezTo>
                    <a:pt x="3102" y="30"/>
                    <a:pt x="3198" y="465"/>
                    <a:pt x="2481" y="395"/>
                  </a:cubicBezTo>
                  <a:cubicBezTo>
                    <a:pt x="2471" y="410"/>
                    <a:pt x="2308" y="410"/>
                    <a:pt x="2298" y="395"/>
                  </a:cubicBezTo>
                  <a:cubicBezTo>
                    <a:pt x="1581" y="465"/>
                    <a:pt x="1676" y="30"/>
                    <a:pt x="1252" y="18"/>
                  </a:cubicBezTo>
                  <a:cubicBezTo>
                    <a:pt x="596" y="0"/>
                    <a:pt x="337" y="947"/>
                    <a:pt x="226" y="1524"/>
                  </a:cubicBezTo>
                  <a:cubicBezTo>
                    <a:pt x="85" y="2260"/>
                    <a:pt x="0" y="3666"/>
                    <a:pt x="830" y="3346"/>
                  </a:cubicBezTo>
                  <a:cubicBezTo>
                    <a:pt x="923" y="3311"/>
                    <a:pt x="1971" y="2671"/>
                    <a:pt x="2097" y="2671"/>
                  </a:cubicBezTo>
                  <a:lnTo>
                    <a:pt x="2682" y="2671"/>
                  </a:lnTo>
                  <a:cubicBezTo>
                    <a:pt x="2808" y="2671"/>
                    <a:pt x="3856" y="3310"/>
                    <a:pt x="3949" y="3346"/>
                  </a:cubicBezTo>
                  <a:cubicBezTo>
                    <a:pt x="4747" y="3656"/>
                    <a:pt x="4693" y="2260"/>
                    <a:pt x="4552" y="1524"/>
                  </a:cubicBezTo>
                  <a:close/>
                  <a:moveTo>
                    <a:pt x="823" y="1223"/>
                  </a:moveTo>
                  <a:cubicBezTo>
                    <a:pt x="823" y="1044"/>
                    <a:pt x="970" y="899"/>
                    <a:pt x="1152" y="899"/>
                  </a:cubicBezTo>
                  <a:cubicBezTo>
                    <a:pt x="1333" y="899"/>
                    <a:pt x="1480" y="1044"/>
                    <a:pt x="1480" y="1223"/>
                  </a:cubicBezTo>
                  <a:cubicBezTo>
                    <a:pt x="1480" y="1401"/>
                    <a:pt x="1333" y="1546"/>
                    <a:pt x="1152" y="1546"/>
                  </a:cubicBezTo>
                  <a:cubicBezTo>
                    <a:pt x="970" y="1546"/>
                    <a:pt x="823" y="1402"/>
                    <a:pt x="823" y="1223"/>
                  </a:cubicBezTo>
                  <a:close/>
                  <a:moveTo>
                    <a:pt x="2088" y="2128"/>
                  </a:moveTo>
                  <a:lnTo>
                    <a:pt x="2084" y="2143"/>
                  </a:lnTo>
                  <a:cubicBezTo>
                    <a:pt x="2051" y="2266"/>
                    <a:pt x="1952" y="2362"/>
                    <a:pt x="1828" y="2394"/>
                  </a:cubicBezTo>
                  <a:lnTo>
                    <a:pt x="1805" y="2399"/>
                  </a:lnTo>
                  <a:cubicBezTo>
                    <a:pt x="1783" y="2404"/>
                    <a:pt x="1760" y="2406"/>
                    <a:pt x="1737" y="2406"/>
                  </a:cubicBezTo>
                  <a:cubicBezTo>
                    <a:pt x="1714" y="2406"/>
                    <a:pt x="1691" y="2404"/>
                    <a:pt x="1669" y="2399"/>
                  </a:cubicBezTo>
                  <a:lnTo>
                    <a:pt x="1644" y="2394"/>
                  </a:lnTo>
                  <a:cubicBezTo>
                    <a:pt x="1520" y="2361"/>
                    <a:pt x="1423" y="2265"/>
                    <a:pt x="1390" y="2143"/>
                  </a:cubicBezTo>
                  <a:lnTo>
                    <a:pt x="1384" y="2116"/>
                  </a:lnTo>
                  <a:cubicBezTo>
                    <a:pt x="1380" y="2095"/>
                    <a:pt x="1377" y="2074"/>
                    <a:pt x="1377" y="2052"/>
                  </a:cubicBezTo>
                  <a:cubicBezTo>
                    <a:pt x="1377" y="2030"/>
                    <a:pt x="1380" y="2009"/>
                    <a:pt x="1384" y="1988"/>
                  </a:cubicBezTo>
                  <a:lnTo>
                    <a:pt x="1390" y="1962"/>
                  </a:lnTo>
                  <a:cubicBezTo>
                    <a:pt x="1422" y="1839"/>
                    <a:pt x="1520" y="1743"/>
                    <a:pt x="1644" y="1710"/>
                  </a:cubicBezTo>
                  <a:lnTo>
                    <a:pt x="1662" y="1706"/>
                  </a:lnTo>
                  <a:cubicBezTo>
                    <a:pt x="1686" y="1700"/>
                    <a:pt x="1711" y="1698"/>
                    <a:pt x="1737" y="1698"/>
                  </a:cubicBezTo>
                  <a:cubicBezTo>
                    <a:pt x="1763" y="1698"/>
                    <a:pt x="1788" y="1700"/>
                    <a:pt x="1813" y="1706"/>
                  </a:cubicBezTo>
                  <a:lnTo>
                    <a:pt x="1828" y="1709"/>
                  </a:lnTo>
                  <a:cubicBezTo>
                    <a:pt x="1953" y="1742"/>
                    <a:pt x="2052" y="1839"/>
                    <a:pt x="2085" y="1962"/>
                  </a:cubicBezTo>
                  <a:lnTo>
                    <a:pt x="2088" y="1975"/>
                  </a:lnTo>
                  <a:cubicBezTo>
                    <a:pt x="2094" y="2000"/>
                    <a:pt x="2097" y="2025"/>
                    <a:pt x="2097" y="2052"/>
                  </a:cubicBezTo>
                  <a:cubicBezTo>
                    <a:pt x="2097" y="2078"/>
                    <a:pt x="2094" y="2104"/>
                    <a:pt x="2088" y="2128"/>
                  </a:cubicBezTo>
                  <a:close/>
                  <a:moveTo>
                    <a:pt x="3590" y="957"/>
                  </a:moveTo>
                  <a:cubicBezTo>
                    <a:pt x="3661" y="957"/>
                    <a:pt x="3719" y="1014"/>
                    <a:pt x="3719" y="1085"/>
                  </a:cubicBezTo>
                  <a:cubicBezTo>
                    <a:pt x="3719" y="1155"/>
                    <a:pt x="3661" y="1212"/>
                    <a:pt x="3590" y="1212"/>
                  </a:cubicBezTo>
                  <a:cubicBezTo>
                    <a:pt x="3519" y="1212"/>
                    <a:pt x="3461" y="1155"/>
                    <a:pt x="3461" y="1085"/>
                  </a:cubicBezTo>
                  <a:cubicBezTo>
                    <a:pt x="3461" y="1014"/>
                    <a:pt x="3519" y="957"/>
                    <a:pt x="3590" y="957"/>
                  </a:cubicBezTo>
                  <a:close/>
                  <a:moveTo>
                    <a:pt x="3047" y="2352"/>
                  </a:moveTo>
                  <a:cubicBezTo>
                    <a:pt x="2865" y="2352"/>
                    <a:pt x="2718" y="2207"/>
                    <a:pt x="2718" y="2029"/>
                  </a:cubicBezTo>
                  <a:cubicBezTo>
                    <a:pt x="2718" y="1850"/>
                    <a:pt x="2865" y="1705"/>
                    <a:pt x="3047" y="1705"/>
                  </a:cubicBezTo>
                  <a:cubicBezTo>
                    <a:pt x="3228" y="1705"/>
                    <a:pt x="3375" y="1850"/>
                    <a:pt x="3375" y="2029"/>
                  </a:cubicBezTo>
                  <a:cubicBezTo>
                    <a:pt x="3375" y="2207"/>
                    <a:pt x="3228" y="2352"/>
                    <a:pt x="3047" y="2352"/>
                  </a:cubicBezTo>
                  <a:close/>
                  <a:moveTo>
                    <a:pt x="3332" y="1466"/>
                  </a:moveTo>
                  <a:cubicBezTo>
                    <a:pt x="3261" y="1466"/>
                    <a:pt x="3203" y="1409"/>
                    <a:pt x="3203" y="1339"/>
                  </a:cubicBezTo>
                  <a:cubicBezTo>
                    <a:pt x="3203" y="1269"/>
                    <a:pt x="3261" y="1212"/>
                    <a:pt x="3332" y="1212"/>
                  </a:cubicBezTo>
                  <a:cubicBezTo>
                    <a:pt x="3403" y="1212"/>
                    <a:pt x="3461" y="1269"/>
                    <a:pt x="3461" y="1339"/>
                  </a:cubicBezTo>
                  <a:cubicBezTo>
                    <a:pt x="3461" y="1409"/>
                    <a:pt x="3403" y="1466"/>
                    <a:pt x="3332" y="1466"/>
                  </a:cubicBezTo>
                  <a:close/>
                  <a:moveTo>
                    <a:pt x="3590" y="1721"/>
                  </a:moveTo>
                  <a:cubicBezTo>
                    <a:pt x="3519" y="1721"/>
                    <a:pt x="3461" y="1664"/>
                    <a:pt x="3461" y="1593"/>
                  </a:cubicBezTo>
                  <a:cubicBezTo>
                    <a:pt x="3461" y="1523"/>
                    <a:pt x="3519" y="1466"/>
                    <a:pt x="3590" y="1466"/>
                  </a:cubicBezTo>
                  <a:cubicBezTo>
                    <a:pt x="3661" y="1466"/>
                    <a:pt x="3719" y="1523"/>
                    <a:pt x="3719" y="1593"/>
                  </a:cubicBezTo>
                  <a:cubicBezTo>
                    <a:pt x="3719" y="1664"/>
                    <a:pt x="3661" y="1721"/>
                    <a:pt x="3590" y="1721"/>
                  </a:cubicBezTo>
                  <a:close/>
                  <a:moveTo>
                    <a:pt x="3848" y="1466"/>
                  </a:moveTo>
                  <a:cubicBezTo>
                    <a:pt x="3777" y="1466"/>
                    <a:pt x="3719" y="1409"/>
                    <a:pt x="3719" y="1339"/>
                  </a:cubicBezTo>
                  <a:cubicBezTo>
                    <a:pt x="3719" y="1269"/>
                    <a:pt x="3777" y="1212"/>
                    <a:pt x="3848" y="1212"/>
                  </a:cubicBezTo>
                  <a:cubicBezTo>
                    <a:pt x="3920" y="1212"/>
                    <a:pt x="3978" y="1269"/>
                    <a:pt x="3978" y="1339"/>
                  </a:cubicBezTo>
                  <a:cubicBezTo>
                    <a:pt x="3978" y="1409"/>
                    <a:pt x="3920" y="1466"/>
                    <a:pt x="3848" y="146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224">
              <a:extLst>
                <a:ext uri="{FF2B5EF4-FFF2-40B4-BE49-F238E27FC236}">
                  <a16:creationId xmlns:a16="http://schemas.microsoft.com/office/drawing/2014/main" id="{443FF727-169D-46B6-ACEC-03170E3AD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1" y="3101"/>
              <a:ext cx="97" cy="95"/>
            </a:xfrm>
            <a:custGeom>
              <a:avLst/>
              <a:gdLst>
                <a:gd name="T0" fmla="*/ 0 w 241"/>
                <a:gd name="T1" fmla="*/ 236 h 236"/>
                <a:gd name="T2" fmla="*/ 241 w 241"/>
                <a:gd name="T3" fmla="*/ 0 h 236"/>
                <a:gd name="T4" fmla="*/ 0 w 241"/>
                <a:gd name="T5" fmla="*/ 0 h 236"/>
                <a:gd name="T6" fmla="*/ 0 w 241"/>
                <a:gd name="T7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1" h="236">
                  <a:moveTo>
                    <a:pt x="0" y="236"/>
                  </a:moveTo>
                  <a:cubicBezTo>
                    <a:pt x="116" y="204"/>
                    <a:pt x="208" y="114"/>
                    <a:pt x="241" y="0"/>
                  </a:cubicBezTo>
                  <a:lnTo>
                    <a:pt x="0" y="0"/>
                  </a:lnTo>
                  <a:lnTo>
                    <a:pt x="0" y="23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225">
              <a:extLst>
                <a:ext uri="{FF2B5EF4-FFF2-40B4-BE49-F238E27FC236}">
                  <a16:creationId xmlns:a16="http://schemas.microsoft.com/office/drawing/2014/main" id="{0E4376BF-7302-4C82-9815-367AEE9C4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0" y="3101"/>
              <a:ext cx="96" cy="95"/>
            </a:xfrm>
            <a:custGeom>
              <a:avLst/>
              <a:gdLst>
                <a:gd name="T0" fmla="*/ 0 w 238"/>
                <a:gd name="T1" fmla="*/ 0 h 235"/>
                <a:gd name="T2" fmla="*/ 238 w 238"/>
                <a:gd name="T3" fmla="*/ 235 h 235"/>
                <a:gd name="T4" fmla="*/ 238 w 238"/>
                <a:gd name="T5" fmla="*/ 0 h 235"/>
                <a:gd name="T6" fmla="*/ 0 w 238"/>
                <a:gd name="T7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35">
                  <a:moveTo>
                    <a:pt x="0" y="0"/>
                  </a:moveTo>
                  <a:cubicBezTo>
                    <a:pt x="32" y="114"/>
                    <a:pt x="123" y="203"/>
                    <a:pt x="238" y="235"/>
                  </a:cubicBezTo>
                  <a:lnTo>
                    <a:pt x="23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226">
              <a:extLst>
                <a:ext uri="{FF2B5EF4-FFF2-40B4-BE49-F238E27FC236}">
                  <a16:creationId xmlns:a16="http://schemas.microsoft.com/office/drawing/2014/main" id="{EA3F29E8-E5EB-4965-9C80-9D2C900403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0" y="2932"/>
              <a:ext cx="96" cy="95"/>
            </a:xfrm>
            <a:custGeom>
              <a:avLst/>
              <a:gdLst>
                <a:gd name="T0" fmla="*/ 239 w 239"/>
                <a:gd name="T1" fmla="*/ 0 h 237"/>
                <a:gd name="T2" fmla="*/ 0 w 239"/>
                <a:gd name="T3" fmla="*/ 237 h 237"/>
                <a:gd name="T4" fmla="*/ 239 w 239"/>
                <a:gd name="T5" fmla="*/ 237 h 237"/>
                <a:gd name="T6" fmla="*/ 239 w 239"/>
                <a:gd name="T7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9" h="237">
                  <a:moveTo>
                    <a:pt x="239" y="0"/>
                  </a:moveTo>
                  <a:cubicBezTo>
                    <a:pt x="123" y="32"/>
                    <a:pt x="32" y="123"/>
                    <a:pt x="0" y="237"/>
                  </a:cubicBezTo>
                  <a:lnTo>
                    <a:pt x="239" y="237"/>
                  </a:lnTo>
                  <a:lnTo>
                    <a:pt x="2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AC6571A5-9F83-4DB9-8A24-EA934A9822CD}"/>
              </a:ext>
            </a:extLst>
          </p:cNvPr>
          <p:cNvCxnSpPr/>
          <p:nvPr/>
        </p:nvCxnSpPr>
        <p:spPr>
          <a:xfrm>
            <a:off x="1766711" y="2596444"/>
            <a:ext cx="865857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47616F1A-EF72-4AD0-9604-FB7F8DF3F2C6}"/>
              </a:ext>
            </a:extLst>
          </p:cNvPr>
          <p:cNvCxnSpPr/>
          <p:nvPr/>
        </p:nvCxnSpPr>
        <p:spPr>
          <a:xfrm>
            <a:off x="6096000" y="1164256"/>
            <a:ext cx="0" cy="48123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Graphique 28" descr="Visage triste noir">
            <a:extLst>
              <a:ext uri="{FF2B5EF4-FFF2-40B4-BE49-F238E27FC236}">
                <a16:creationId xmlns:a16="http://schemas.microsoft.com/office/drawing/2014/main" id="{E09A6F61-FE99-4F46-9822-C326C9B43E4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113937" y="1182057"/>
            <a:ext cx="1277519" cy="1277519"/>
          </a:xfrm>
          <a:prstGeom prst="rect">
            <a:avLst/>
          </a:prstGeom>
        </p:spPr>
      </p:pic>
      <p:pic>
        <p:nvPicPr>
          <p:cNvPr id="31" name="Graphique 30" descr="Visage noir portant des lunettes de soleil">
            <a:extLst>
              <a:ext uri="{FF2B5EF4-FFF2-40B4-BE49-F238E27FC236}">
                <a16:creationId xmlns:a16="http://schemas.microsoft.com/office/drawing/2014/main" id="{E968A166-EF67-4804-9BF4-9B751CDCEC5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942105" y="1182057"/>
            <a:ext cx="1277518" cy="1277518"/>
          </a:xfrm>
          <a:prstGeom prst="rect">
            <a:avLst/>
          </a:prstGeom>
        </p:spPr>
      </p:pic>
      <p:pic>
        <p:nvPicPr>
          <p:cNvPr id="38" name="Graphique 37" descr="Horloge">
            <a:extLst>
              <a:ext uri="{FF2B5EF4-FFF2-40B4-BE49-F238E27FC236}">
                <a16:creationId xmlns:a16="http://schemas.microsoft.com/office/drawing/2014/main" id="{F410C500-2856-437F-A8E1-3575E860F84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766711" y="3618257"/>
            <a:ext cx="914400" cy="914400"/>
          </a:xfrm>
          <a:prstGeom prst="rect">
            <a:avLst/>
          </a:prstGeom>
        </p:spPr>
      </p:pic>
      <p:grpSp>
        <p:nvGrpSpPr>
          <p:cNvPr id="39" name="Clapboard">
            <a:extLst>
              <a:ext uri="{FF2B5EF4-FFF2-40B4-BE49-F238E27FC236}">
                <a16:creationId xmlns:a16="http://schemas.microsoft.com/office/drawing/2014/main" id="{91D72BD6-26D1-4E8B-92F2-902A77AAF89F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480104" y="3803994"/>
            <a:ext cx="571294" cy="542925"/>
            <a:chOff x="2347" y="740"/>
            <a:chExt cx="2779" cy="2641"/>
          </a:xfrm>
          <a:solidFill>
            <a:schemeClr val="accent1"/>
          </a:solidFill>
        </p:grpSpPr>
        <p:sp>
          <p:nvSpPr>
            <p:cNvPr id="40" name="Freeform 252">
              <a:extLst>
                <a:ext uri="{FF2B5EF4-FFF2-40B4-BE49-F238E27FC236}">
                  <a16:creationId xmlns:a16="http://schemas.microsoft.com/office/drawing/2014/main" id="{B3364B62-D24B-47C1-8D1A-7077054AC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1790"/>
              <a:ext cx="2648" cy="1591"/>
            </a:xfrm>
            <a:custGeom>
              <a:avLst/>
              <a:gdLst>
                <a:gd name="T0" fmla="*/ 0 w 667"/>
                <a:gd name="T1" fmla="*/ 117 h 400"/>
                <a:gd name="T2" fmla="*/ 0 w 667"/>
                <a:gd name="T3" fmla="*/ 367 h 400"/>
                <a:gd name="T4" fmla="*/ 33 w 667"/>
                <a:gd name="T5" fmla="*/ 400 h 400"/>
                <a:gd name="T6" fmla="*/ 633 w 667"/>
                <a:gd name="T7" fmla="*/ 400 h 400"/>
                <a:gd name="T8" fmla="*/ 667 w 667"/>
                <a:gd name="T9" fmla="*/ 367 h 400"/>
                <a:gd name="T10" fmla="*/ 667 w 667"/>
                <a:gd name="T11" fmla="*/ 117 h 400"/>
                <a:gd name="T12" fmla="*/ 667 w 667"/>
                <a:gd name="T13" fmla="*/ 72 h 400"/>
                <a:gd name="T14" fmla="*/ 622 w 667"/>
                <a:gd name="T15" fmla="*/ 117 h 400"/>
                <a:gd name="T16" fmla="*/ 522 w 667"/>
                <a:gd name="T17" fmla="*/ 117 h 400"/>
                <a:gd name="T18" fmla="*/ 639 w 667"/>
                <a:gd name="T19" fmla="*/ 0 h 400"/>
                <a:gd name="T20" fmla="*/ 545 w 667"/>
                <a:gd name="T21" fmla="*/ 0 h 400"/>
                <a:gd name="T22" fmla="*/ 428 w 667"/>
                <a:gd name="T23" fmla="*/ 117 h 400"/>
                <a:gd name="T24" fmla="*/ 322 w 667"/>
                <a:gd name="T25" fmla="*/ 117 h 400"/>
                <a:gd name="T26" fmla="*/ 439 w 667"/>
                <a:gd name="T27" fmla="*/ 0 h 400"/>
                <a:gd name="T28" fmla="*/ 345 w 667"/>
                <a:gd name="T29" fmla="*/ 0 h 400"/>
                <a:gd name="T30" fmla="*/ 228 w 667"/>
                <a:gd name="T31" fmla="*/ 117 h 400"/>
                <a:gd name="T32" fmla="*/ 122 w 667"/>
                <a:gd name="T33" fmla="*/ 117 h 400"/>
                <a:gd name="T34" fmla="*/ 239 w 667"/>
                <a:gd name="T35" fmla="*/ 0 h 400"/>
                <a:gd name="T36" fmla="*/ 145 w 667"/>
                <a:gd name="T37" fmla="*/ 0 h 400"/>
                <a:gd name="T38" fmla="*/ 28 w 667"/>
                <a:gd name="T39" fmla="*/ 117 h 400"/>
                <a:gd name="T40" fmla="*/ 0 w 667"/>
                <a:gd name="T41" fmla="*/ 117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67" h="400">
                  <a:moveTo>
                    <a:pt x="0" y="117"/>
                  </a:moveTo>
                  <a:lnTo>
                    <a:pt x="0" y="367"/>
                  </a:lnTo>
                  <a:cubicBezTo>
                    <a:pt x="0" y="385"/>
                    <a:pt x="15" y="400"/>
                    <a:pt x="33" y="400"/>
                  </a:cubicBezTo>
                  <a:lnTo>
                    <a:pt x="633" y="400"/>
                  </a:lnTo>
                  <a:cubicBezTo>
                    <a:pt x="652" y="400"/>
                    <a:pt x="667" y="385"/>
                    <a:pt x="667" y="367"/>
                  </a:cubicBezTo>
                  <a:lnTo>
                    <a:pt x="667" y="117"/>
                  </a:lnTo>
                  <a:lnTo>
                    <a:pt x="667" y="72"/>
                  </a:lnTo>
                  <a:lnTo>
                    <a:pt x="622" y="117"/>
                  </a:lnTo>
                  <a:lnTo>
                    <a:pt x="522" y="117"/>
                  </a:lnTo>
                  <a:lnTo>
                    <a:pt x="639" y="0"/>
                  </a:lnTo>
                  <a:lnTo>
                    <a:pt x="545" y="0"/>
                  </a:lnTo>
                  <a:lnTo>
                    <a:pt x="428" y="117"/>
                  </a:lnTo>
                  <a:lnTo>
                    <a:pt x="322" y="117"/>
                  </a:lnTo>
                  <a:lnTo>
                    <a:pt x="439" y="0"/>
                  </a:lnTo>
                  <a:lnTo>
                    <a:pt x="345" y="0"/>
                  </a:lnTo>
                  <a:lnTo>
                    <a:pt x="228" y="117"/>
                  </a:lnTo>
                  <a:lnTo>
                    <a:pt x="122" y="117"/>
                  </a:lnTo>
                  <a:lnTo>
                    <a:pt x="239" y="0"/>
                  </a:lnTo>
                  <a:lnTo>
                    <a:pt x="145" y="0"/>
                  </a:lnTo>
                  <a:lnTo>
                    <a:pt x="28" y="117"/>
                  </a:lnTo>
                  <a:lnTo>
                    <a:pt x="0" y="1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253">
              <a:extLst>
                <a:ext uri="{FF2B5EF4-FFF2-40B4-BE49-F238E27FC236}">
                  <a16:creationId xmlns:a16="http://schemas.microsoft.com/office/drawing/2014/main" id="{5E051247-D00A-48AD-98D3-88E878196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9" y="998"/>
              <a:ext cx="794" cy="708"/>
            </a:xfrm>
            <a:custGeom>
              <a:avLst/>
              <a:gdLst>
                <a:gd name="T0" fmla="*/ 405 w 794"/>
                <a:gd name="T1" fmla="*/ 625 h 708"/>
                <a:gd name="T2" fmla="*/ 794 w 794"/>
                <a:gd name="T3" fmla="*/ 0 h 708"/>
                <a:gd name="T4" fmla="*/ 389 w 794"/>
                <a:gd name="T5" fmla="*/ 84 h 708"/>
                <a:gd name="T6" fmla="*/ 0 w 794"/>
                <a:gd name="T7" fmla="*/ 708 h 708"/>
                <a:gd name="T8" fmla="*/ 405 w 794"/>
                <a:gd name="T9" fmla="*/ 625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4" h="708">
                  <a:moveTo>
                    <a:pt x="405" y="625"/>
                  </a:moveTo>
                  <a:lnTo>
                    <a:pt x="794" y="0"/>
                  </a:lnTo>
                  <a:lnTo>
                    <a:pt x="389" y="84"/>
                  </a:lnTo>
                  <a:lnTo>
                    <a:pt x="0" y="708"/>
                  </a:lnTo>
                  <a:lnTo>
                    <a:pt x="405" y="62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254">
              <a:extLst>
                <a:ext uri="{FF2B5EF4-FFF2-40B4-BE49-F238E27FC236}">
                  <a16:creationId xmlns:a16="http://schemas.microsoft.com/office/drawing/2014/main" id="{4AAFB747-C18A-4808-9513-EF52F0F1E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1" y="839"/>
              <a:ext cx="794" cy="708"/>
            </a:xfrm>
            <a:custGeom>
              <a:avLst/>
              <a:gdLst>
                <a:gd name="T0" fmla="*/ 405 w 794"/>
                <a:gd name="T1" fmla="*/ 625 h 708"/>
                <a:gd name="T2" fmla="*/ 794 w 794"/>
                <a:gd name="T3" fmla="*/ 0 h 708"/>
                <a:gd name="T4" fmla="*/ 389 w 794"/>
                <a:gd name="T5" fmla="*/ 84 h 708"/>
                <a:gd name="T6" fmla="*/ 0 w 794"/>
                <a:gd name="T7" fmla="*/ 708 h 708"/>
                <a:gd name="T8" fmla="*/ 405 w 794"/>
                <a:gd name="T9" fmla="*/ 625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4" h="708">
                  <a:moveTo>
                    <a:pt x="405" y="625"/>
                  </a:moveTo>
                  <a:lnTo>
                    <a:pt x="794" y="0"/>
                  </a:lnTo>
                  <a:lnTo>
                    <a:pt x="389" y="84"/>
                  </a:lnTo>
                  <a:lnTo>
                    <a:pt x="0" y="708"/>
                  </a:lnTo>
                  <a:lnTo>
                    <a:pt x="405" y="62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255">
              <a:extLst>
                <a:ext uri="{FF2B5EF4-FFF2-40B4-BE49-F238E27FC236}">
                  <a16:creationId xmlns:a16="http://schemas.microsoft.com/office/drawing/2014/main" id="{491CA3B9-6DA7-4CC4-8CC4-EC24FA3FC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" y="740"/>
              <a:ext cx="667" cy="648"/>
            </a:xfrm>
            <a:custGeom>
              <a:avLst/>
              <a:gdLst>
                <a:gd name="T0" fmla="*/ 102 w 168"/>
                <a:gd name="T1" fmla="*/ 142 h 163"/>
                <a:gd name="T2" fmla="*/ 168 w 168"/>
                <a:gd name="T3" fmla="*/ 128 h 163"/>
                <a:gd name="T4" fmla="*/ 153 w 168"/>
                <a:gd name="T5" fmla="*/ 60 h 163"/>
                <a:gd name="T6" fmla="*/ 147 w 168"/>
                <a:gd name="T7" fmla="*/ 30 h 163"/>
                <a:gd name="T8" fmla="*/ 108 w 168"/>
                <a:gd name="T9" fmla="*/ 4 h 163"/>
                <a:gd name="T10" fmla="*/ 98 w 168"/>
                <a:gd name="T11" fmla="*/ 6 h 163"/>
                <a:gd name="T12" fmla="*/ 0 w 168"/>
                <a:gd name="T13" fmla="*/ 163 h 163"/>
                <a:gd name="T14" fmla="*/ 102 w 168"/>
                <a:gd name="T15" fmla="*/ 14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8" h="163">
                  <a:moveTo>
                    <a:pt x="102" y="142"/>
                  </a:moveTo>
                  <a:lnTo>
                    <a:pt x="168" y="128"/>
                  </a:lnTo>
                  <a:lnTo>
                    <a:pt x="153" y="60"/>
                  </a:lnTo>
                  <a:lnTo>
                    <a:pt x="147" y="30"/>
                  </a:lnTo>
                  <a:cubicBezTo>
                    <a:pt x="143" y="12"/>
                    <a:pt x="126" y="0"/>
                    <a:pt x="108" y="4"/>
                  </a:cubicBezTo>
                  <a:lnTo>
                    <a:pt x="98" y="6"/>
                  </a:lnTo>
                  <a:lnTo>
                    <a:pt x="0" y="163"/>
                  </a:lnTo>
                  <a:lnTo>
                    <a:pt x="102" y="142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256">
              <a:extLst>
                <a:ext uri="{FF2B5EF4-FFF2-40B4-BE49-F238E27FC236}">
                  <a16:creationId xmlns:a16="http://schemas.microsoft.com/office/drawing/2014/main" id="{4804B631-DE4B-4F29-9603-A8B8729FE6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7" y="1157"/>
              <a:ext cx="564" cy="832"/>
            </a:xfrm>
            <a:custGeom>
              <a:avLst/>
              <a:gdLst>
                <a:gd name="T0" fmla="*/ 0 w 142"/>
                <a:gd name="T1" fmla="*/ 159 h 209"/>
                <a:gd name="T2" fmla="*/ 33 w 142"/>
                <a:gd name="T3" fmla="*/ 206 h 209"/>
                <a:gd name="T4" fmla="*/ 50 w 142"/>
                <a:gd name="T5" fmla="*/ 209 h 209"/>
                <a:gd name="T6" fmla="*/ 100 w 142"/>
                <a:gd name="T7" fmla="*/ 159 h 209"/>
                <a:gd name="T8" fmla="*/ 98 w 142"/>
                <a:gd name="T9" fmla="*/ 146 h 209"/>
                <a:gd name="T10" fmla="*/ 71 w 142"/>
                <a:gd name="T11" fmla="*/ 114 h 209"/>
                <a:gd name="T12" fmla="*/ 142 w 142"/>
                <a:gd name="T13" fmla="*/ 0 h 209"/>
                <a:gd name="T14" fmla="*/ 38 w 142"/>
                <a:gd name="T15" fmla="*/ 22 h 209"/>
                <a:gd name="T16" fmla="*/ 13 w 142"/>
                <a:gd name="T17" fmla="*/ 61 h 209"/>
                <a:gd name="T18" fmla="*/ 24 w 142"/>
                <a:gd name="T19" fmla="*/ 116 h 209"/>
                <a:gd name="T20" fmla="*/ 0 w 142"/>
                <a:gd name="T21" fmla="*/ 15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2" h="209">
                  <a:moveTo>
                    <a:pt x="0" y="159"/>
                  </a:moveTo>
                  <a:cubicBezTo>
                    <a:pt x="0" y="181"/>
                    <a:pt x="14" y="199"/>
                    <a:pt x="33" y="206"/>
                  </a:cubicBezTo>
                  <a:cubicBezTo>
                    <a:pt x="38" y="208"/>
                    <a:pt x="44" y="209"/>
                    <a:pt x="50" y="209"/>
                  </a:cubicBezTo>
                  <a:cubicBezTo>
                    <a:pt x="77" y="209"/>
                    <a:pt x="100" y="187"/>
                    <a:pt x="100" y="159"/>
                  </a:cubicBezTo>
                  <a:cubicBezTo>
                    <a:pt x="100" y="154"/>
                    <a:pt x="99" y="150"/>
                    <a:pt x="98" y="146"/>
                  </a:cubicBezTo>
                  <a:cubicBezTo>
                    <a:pt x="94" y="131"/>
                    <a:pt x="84" y="120"/>
                    <a:pt x="71" y="114"/>
                  </a:cubicBezTo>
                  <a:lnTo>
                    <a:pt x="142" y="0"/>
                  </a:lnTo>
                  <a:lnTo>
                    <a:pt x="38" y="22"/>
                  </a:lnTo>
                  <a:cubicBezTo>
                    <a:pt x="20" y="25"/>
                    <a:pt x="9" y="43"/>
                    <a:pt x="13" y="61"/>
                  </a:cubicBezTo>
                  <a:lnTo>
                    <a:pt x="24" y="116"/>
                  </a:lnTo>
                  <a:cubicBezTo>
                    <a:pt x="10" y="125"/>
                    <a:pt x="0" y="141"/>
                    <a:pt x="0" y="15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2628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4E569358-D2C0-4C0B-8FF9-A2179E3FF4A9}"/>
              </a:ext>
            </a:extLst>
          </p:cNvPr>
          <p:cNvGrpSpPr/>
          <p:nvPr/>
        </p:nvGrpSpPr>
        <p:grpSpPr>
          <a:xfrm>
            <a:off x="3616378" y="945553"/>
            <a:ext cx="5548424" cy="4966894"/>
            <a:chOff x="3616378" y="1328738"/>
            <a:chExt cx="5548424" cy="4966894"/>
          </a:xfrm>
        </p:grpSpPr>
        <p:pic>
          <p:nvPicPr>
            <p:cNvPr id="4" name="Image 3">
              <a:extLst>
                <a:ext uri="{FF2B5EF4-FFF2-40B4-BE49-F238E27FC236}">
                  <a16:creationId xmlns:a16="http://schemas.microsoft.com/office/drawing/2014/main" id="{8421A98F-9960-477B-AAA0-1A7AD07BAB9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56911" y="1328738"/>
              <a:ext cx="3926826" cy="3970121"/>
            </a:xfrm>
            <a:prstGeom prst="rect">
              <a:avLst/>
            </a:prstGeom>
          </p:spPr>
        </p:pic>
        <p:pic>
          <p:nvPicPr>
            <p:cNvPr id="5" name="Image 4">
              <a:extLst>
                <a:ext uri="{FF2B5EF4-FFF2-40B4-BE49-F238E27FC236}">
                  <a16:creationId xmlns:a16="http://schemas.microsoft.com/office/drawing/2014/main" id="{5EF07E00-6628-4307-B0F6-928CD9A1C69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16378" y="4447920"/>
              <a:ext cx="5007891" cy="1155473"/>
            </a:xfrm>
            <a:prstGeom prst="rect">
              <a:avLst/>
            </a:prstGeom>
          </p:spPr>
        </p:pic>
        <p:pic>
          <p:nvPicPr>
            <p:cNvPr id="6" name="Image 5">
              <a:extLst>
                <a:ext uri="{FF2B5EF4-FFF2-40B4-BE49-F238E27FC236}">
                  <a16:creationId xmlns:a16="http://schemas.microsoft.com/office/drawing/2014/main" id="{2AE6700A-A45F-4D66-917B-D5039C5143A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96000" y="5048931"/>
              <a:ext cx="3068802" cy="12467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280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153D43-A0C3-44AD-9322-064556A5CC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contraintes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1831487-9846-4AB9-A91B-E90CDC9CBF07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3173" y="2468345"/>
            <a:ext cx="1890319" cy="1904604"/>
          </a:xfrm>
          <a:prstGeom prst="rect">
            <a:avLst/>
          </a:prstGeom>
        </p:spPr>
      </p:pic>
      <p:grpSp>
        <p:nvGrpSpPr>
          <p:cNvPr id="13" name="Groupe 12">
            <a:extLst>
              <a:ext uri="{FF2B5EF4-FFF2-40B4-BE49-F238E27FC236}">
                <a16:creationId xmlns:a16="http://schemas.microsoft.com/office/drawing/2014/main" id="{9E750581-9C05-4968-B8C6-0182E2883A7E}"/>
              </a:ext>
            </a:extLst>
          </p:cNvPr>
          <p:cNvGrpSpPr/>
          <p:nvPr/>
        </p:nvGrpSpPr>
        <p:grpSpPr>
          <a:xfrm>
            <a:off x="8739928" y="2468345"/>
            <a:ext cx="1890319" cy="1904603"/>
            <a:chOff x="8696586" y="2264796"/>
            <a:chExt cx="1890319" cy="1904603"/>
          </a:xfrm>
        </p:grpSpPr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5C75FD04-2A5D-4076-B2BA-089D34C722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96586" y="2264796"/>
              <a:ext cx="1890319" cy="1904603"/>
            </a:xfrm>
            <a:prstGeom prst="rect">
              <a:avLst/>
            </a:prstGeom>
          </p:spPr>
        </p:pic>
        <p:pic>
          <p:nvPicPr>
            <p:cNvPr id="12" name="Graphique 11" descr="Ciseaux">
              <a:extLst>
                <a:ext uri="{FF2B5EF4-FFF2-40B4-BE49-F238E27FC236}">
                  <a16:creationId xmlns:a16="http://schemas.microsoft.com/office/drawing/2014/main" id="{6EB39A1A-9B33-4CBA-BA30-5C1CC45CFEF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184545" y="2508075"/>
              <a:ext cx="914400" cy="914400"/>
            </a:xfrm>
            <a:prstGeom prst="rect">
              <a:avLst/>
            </a:prstGeom>
          </p:spPr>
        </p:pic>
      </p:grpSp>
      <p:graphicFrame>
        <p:nvGraphicFramePr>
          <p:cNvPr id="17" name="Diagramme 16">
            <a:extLst>
              <a:ext uri="{FF2B5EF4-FFF2-40B4-BE49-F238E27FC236}">
                <a16:creationId xmlns:a16="http://schemas.microsoft.com/office/drawing/2014/main" id="{0EE21061-A0B6-4998-A0C1-A189F03DB8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0167164"/>
              </p:ext>
            </p:extLst>
          </p:nvPr>
        </p:nvGraphicFramePr>
        <p:xfrm>
          <a:off x="2148978" y="2621864"/>
          <a:ext cx="2927757" cy="1222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18" name="Diagramme 17">
            <a:extLst>
              <a:ext uri="{FF2B5EF4-FFF2-40B4-BE49-F238E27FC236}">
                <a16:creationId xmlns:a16="http://schemas.microsoft.com/office/drawing/2014/main" id="{D11773FB-F3B7-4FFE-9831-6A383B51ED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21232596"/>
              </p:ext>
            </p:extLst>
          </p:nvPr>
        </p:nvGraphicFramePr>
        <p:xfrm>
          <a:off x="2148978" y="3613980"/>
          <a:ext cx="2927757" cy="1222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graphicFrame>
        <p:nvGraphicFramePr>
          <p:cNvPr id="19" name="Diagramme 18">
            <a:extLst>
              <a:ext uri="{FF2B5EF4-FFF2-40B4-BE49-F238E27FC236}">
                <a16:creationId xmlns:a16="http://schemas.microsoft.com/office/drawing/2014/main" id="{BAC76657-D200-4D49-99AD-4991E40083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73576810"/>
              </p:ext>
            </p:extLst>
          </p:nvPr>
        </p:nvGraphicFramePr>
        <p:xfrm>
          <a:off x="2148979" y="1606798"/>
          <a:ext cx="2927757" cy="1222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graphicFrame>
        <p:nvGraphicFramePr>
          <p:cNvPr id="20" name="Diagramme 19">
            <a:extLst>
              <a:ext uri="{FF2B5EF4-FFF2-40B4-BE49-F238E27FC236}">
                <a16:creationId xmlns:a16="http://schemas.microsoft.com/office/drawing/2014/main" id="{4AE5AA33-D9B4-4721-8F5F-8C0AE60202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3811299"/>
              </p:ext>
            </p:extLst>
          </p:nvPr>
        </p:nvGraphicFramePr>
        <p:xfrm>
          <a:off x="2148977" y="4606096"/>
          <a:ext cx="2927757" cy="1222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1" r:lo="rId22" r:qs="rId23" r:cs="rId24"/>
          </a:graphicData>
        </a:graphic>
      </p:graphicFrame>
    </p:spTree>
    <p:extLst>
      <p:ext uri="{BB962C8B-B14F-4D97-AF65-F5344CB8AC3E}">
        <p14:creationId xmlns:p14="http://schemas.microsoft.com/office/powerpoint/2010/main" val="2322209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7" grpId="0">
        <p:bldAsOne/>
      </p:bldGraphic>
      <p:bldGraphic spid="18" grpId="0">
        <p:bldAsOne/>
      </p:bldGraphic>
      <p:bldGraphic spid="19" grpId="0">
        <p:bldAsOne/>
      </p:bldGraphic>
      <p:bldGraphic spid="20" grpId="0">
        <p:bldAsOne/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Diagramme 14">
            <a:extLst>
              <a:ext uri="{FF2B5EF4-FFF2-40B4-BE49-F238E27FC236}">
                <a16:creationId xmlns:a16="http://schemas.microsoft.com/office/drawing/2014/main" id="{A5803276-66ED-471B-875E-6F1183B299C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58136029"/>
              </p:ext>
            </p:extLst>
          </p:nvPr>
        </p:nvGraphicFramePr>
        <p:xfrm>
          <a:off x="2148979" y="1606798"/>
          <a:ext cx="2927757" cy="1222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6" name="Diagramme 15">
            <a:extLst>
              <a:ext uri="{FF2B5EF4-FFF2-40B4-BE49-F238E27FC236}">
                <a16:creationId xmlns:a16="http://schemas.microsoft.com/office/drawing/2014/main" id="{7D70A692-4333-49D2-B655-E0551865C2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5669921"/>
              </p:ext>
            </p:extLst>
          </p:nvPr>
        </p:nvGraphicFramePr>
        <p:xfrm>
          <a:off x="2148978" y="2621864"/>
          <a:ext cx="2927757" cy="1222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7" name="Diagramme 16">
            <a:extLst>
              <a:ext uri="{FF2B5EF4-FFF2-40B4-BE49-F238E27FC236}">
                <a16:creationId xmlns:a16="http://schemas.microsoft.com/office/drawing/2014/main" id="{8D018FEA-E99D-41B8-8378-A07455A6C0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581278"/>
              </p:ext>
            </p:extLst>
          </p:nvPr>
        </p:nvGraphicFramePr>
        <p:xfrm>
          <a:off x="2148978" y="3613980"/>
          <a:ext cx="2927757" cy="1222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72153D43-A0C3-44AD-9322-064556A5CC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contraintes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1831487-9846-4AB9-A91B-E90CDC9CBF07}"/>
              </a:ext>
            </a:extLst>
          </p:cNvPr>
          <p:cNvPicPr>
            <a:picLocks noChangeAspect="1"/>
          </p:cNvPicPr>
          <p:nvPr/>
        </p:nvPicPr>
        <p:blipFill>
          <a:blip r:embed="rId1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3173" y="2468345"/>
            <a:ext cx="1890319" cy="1904604"/>
          </a:xfrm>
          <a:prstGeom prst="rect">
            <a:avLst/>
          </a:prstGeom>
        </p:spPr>
      </p:pic>
      <p:grpSp>
        <p:nvGrpSpPr>
          <p:cNvPr id="13" name="Groupe 12">
            <a:extLst>
              <a:ext uri="{FF2B5EF4-FFF2-40B4-BE49-F238E27FC236}">
                <a16:creationId xmlns:a16="http://schemas.microsoft.com/office/drawing/2014/main" id="{9E750581-9C05-4968-B8C6-0182E2883A7E}"/>
              </a:ext>
            </a:extLst>
          </p:cNvPr>
          <p:cNvGrpSpPr/>
          <p:nvPr/>
        </p:nvGrpSpPr>
        <p:grpSpPr>
          <a:xfrm>
            <a:off x="8739928" y="2468345"/>
            <a:ext cx="1890319" cy="1904603"/>
            <a:chOff x="8696586" y="2264796"/>
            <a:chExt cx="1890319" cy="1904603"/>
          </a:xfrm>
        </p:grpSpPr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5C75FD04-2A5D-4076-B2BA-089D34C722A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96586" y="2264796"/>
              <a:ext cx="1890319" cy="1904603"/>
            </a:xfrm>
            <a:prstGeom prst="rect">
              <a:avLst/>
            </a:prstGeom>
          </p:spPr>
        </p:pic>
        <p:pic>
          <p:nvPicPr>
            <p:cNvPr id="12" name="Graphique 11" descr="Ciseaux">
              <a:extLst>
                <a:ext uri="{FF2B5EF4-FFF2-40B4-BE49-F238E27FC236}">
                  <a16:creationId xmlns:a16="http://schemas.microsoft.com/office/drawing/2014/main" id="{6EB39A1A-9B33-4CBA-BA30-5C1CC45CFE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9184545" y="2508075"/>
              <a:ext cx="914400" cy="914400"/>
            </a:xfrm>
            <a:prstGeom prst="rect">
              <a:avLst/>
            </a:prstGeom>
          </p:spPr>
        </p:pic>
      </p:grpSp>
      <p:graphicFrame>
        <p:nvGraphicFramePr>
          <p:cNvPr id="22" name="Diagramme 21">
            <a:extLst>
              <a:ext uri="{FF2B5EF4-FFF2-40B4-BE49-F238E27FC236}">
                <a16:creationId xmlns:a16="http://schemas.microsoft.com/office/drawing/2014/main" id="{0633CBE0-F704-4B1C-90BB-1FE33F0D7F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6240018"/>
              </p:ext>
            </p:extLst>
          </p:nvPr>
        </p:nvGraphicFramePr>
        <p:xfrm>
          <a:off x="2148977" y="4606096"/>
          <a:ext cx="2927757" cy="1222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1" r:lo="rId22" r:qs="rId23" r:cs="rId24"/>
          </a:graphicData>
        </a:graphic>
      </p:graphicFrame>
      <p:grpSp>
        <p:nvGrpSpPr>
          <p:cNvPr id="25" name="Groupe 24">
            <a:extLst>
              <a:ext uri="{FF2B5EF4-FFF2-40B4-BE49-F238E27FC236}">
                <a16:creationId xmlns:a16="http://schemas.microsoft.com/office/drawing/2014/main" id="{B0B328D9-598C-47F8-BC63-6ED9A653710E}"/>
              </a:ext>
            </a:extLst>
          </p:cNvPr>
          <p:cNvGrpSpPr/>
          <p:nvPr/>
        </p:nvGrpSpPr>
        <p:grpSpPr>
          <a:xfrm>
            <a:off x="2148977" y="1933973"/>
            <a:ext cx="2908705" cy="682772"/>
            <a:chOff x="2148977" y="2037270"/>
            <a:chExt cx="2908705" cy="682772"/>
          </a:xfrm>
        </p:grpSpPr>
        <p:grpSp>
          <p:nvGrpSpPr>
            <p:cNvPr id="26" name="Groupe 25">
              <a:extLst>
                <a:ext uri="{FF2B5EF4-FFF2-40B4-BE49-F238E27FC236}">
                  <a16:creationId xmlns:a16="http://schemas.microsoft.com/office/drawing/2014/main" id="{D30B52D5-39BA-4D83-9F59-C540F932F682}"/>
                </a:ext>
              </a:extLst>
            </p:cNvPr>
            <p:cNvGrpSpPr/>
            <p:nvPr/>
          </p:nvGrpSpPr>
          <p:grpSpPr>
            <a:xfrm>
              <a:off x="2148977" y="2303174"/>
              <a:ext cx="851398" cy="416868"/>
              <a:chOff x="2148977" y="1908175"/>
              <a:chExt cx="851398" cy="416868"/>
            </a:xfrm>
          </p:grpSpPr>
          <p:cxnSp>
            <p:nvCxnSpPr>
              <p:cNvPr id="28" name="Connecteur droit 27">
                <a:extLst>
                  <a:ext uri="{FF2B5EF4-FFF2-40B4-BE49-F238E27FC236}">
                    <a16:creationId xmlns:a16="http://schemas.microsoft.com/office/drawing/2014/main" id="{4BBEC32C-0AE2-413B-AD88-AA86D11EDF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48977" y="1908175"/>
                <a:ext cx="425948" cy="416868"/>
              </a:xfrm>
              <a:prstGeom prst="line">
                <a:avLst/>
              </a:prstGeom>
              <a:ln w="19050">
                <a:solidFill>
                  <a:schemeClr val="accent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Connecteur droit 28">
                <a:extLst>
                  <a:ext uri="{FF2B5EF4-FFF2-40B4-BE49-F238E27FC236}">
                    <a16:creationId xmlns:a16="http://schemas.microsoft.com/office/drawing/2014/main" id="{0661610A-2E1B-4D33-BFB6-6ED1B067046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574925" y="1908175"/>
                <a:ext cx="425450" cy="416868"/>
              </a:xfrm>
              <a:prstGeom prst="line">
                <a:avLst/>
              </a:prstGeom>
              <a:ln w="19050">
                <a:solidFill>
                  <a:schemeClr val="accent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" name="Rectangle : coins arrondis 26">
              <a:extLst>
                <a:ext uri="{FF2B5EF4-FFF2-40B4-BE49-F238E27FC236}">
                  <a16:creationId xmlns:a16="http://schemas.microsoft.com/office/drawing/2014/main" id="{8F928D74-F1D8-46AF-8401-CF130F3C7B20}"/>
                </a:ext>
              </a:extLst>
            </p:cNvPr>
            <p:cNvSpPr/>
            <p:nvPr/>
          </p:nvSpPr>
          <p:spPr>
            <a:xfrm>
              <a:off x="3014661" y="2037270"/>
              <a:ext cx="2043021" cy="514350"/>
            </a:xfrm>
            <a:prstGeom prst="roundRect">
              <a:avLst/>
            </a:prstGeom>
            <a:noFill/>
            <a:ln w="19050"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fr-FR" sz="1400" dirty="0"/>
                <a:t>Validation du gameplay</a:t>
              </a:r>
            </a:p>
          </p:txBody>
        </p:sp>
      </p:grp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A9634739-0613-4DA9-B129-F55B9A02ADC4}"/>
              </a:ext>
            </a:extLst>
          </p:cNvPr>
          <p:cNvGrpSpPr/>
          <p:nvPr/>
        </p:nvGrpSpPr>
        <p:grpSpPr>
          <a:xfrm>
            <a:off x="2148977" y="4553779"/>
            <a:ext cx="2908705" cy="682772"/>
            <a:chOff x="2148977" y="2037270"/>
            <a:chExt cx="2908705" cy="682772"/>
          </a:xfrm>
        </p:grpSpPr>
        <p:grpSp>
          <p:nvGrpSpPr>
            <p:cNvPr id="31" name="Groupe 30">
              <a:extLst>
                <a:ext uri="{FF2B5EF4-FFF2-40B4-BE49-F238E27FC236}">
                  <a16:creationId xmlns:a16="http://schemas.microsoft.com/office/drawing/2014/main" id="{41FC49F2-8FE4-413B-809C-5FE21B305427}"/>
                </a:ext>
              </a:extLst>
            </p:cNvPr>
            <p:cNvGrpSpPr/>
            <p:nvPr/>
          </p:nvGrpSpPr>
          <p:grpSpPr>
            <a:xfrm>
              <a:off x="2148977" y="2303174"/>
              <a:ext cx="851398" cy="416868"/>
              <a:chOff x="2148977" y="1908175"/>
              <a:chExt cx="851398" cy="416868"/>
            </a:xfrm>
          </p:grpSpPr>
          <p:cxnSp>
            <p:nvCxnSpPr>
              <p:cNvPr id="33" name="Connecteur droit 32">
                <a:extLst>
                  <a:ext uri="{FF2B5EF4-FFF2-40B4-BE49-F238E27FC236}">
                    <a16:creationId xmlns:a16="http://schemas.microsoft.com/office/drawing/2014/main" id="{DB099DEB-1D14-4DE6-9008-0BE228FCFBD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48977" y="1908175"/>
                <a:ext cx="425948" cy="416868"/>
              </a:xfrm>
              <a:prstGeom prst="line">
                <a:avLst/>
              </a:prstGeom>
              <a:ln w="19050">
                <a:solidFill>
                  <a:schemeClr val="accent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Connecteur droit 33">
                <a:extLst>
                  <a:ext uri="{FF2B5EF4-FFF2-40B4-BE49-F238E27FC236}">
                    <a16:creationId xmlns:a16="http://schemas.microsoft.com/office/drawing/2014/main" id="{4EA8E1BD-18EC-4F12-B5B2-C2E28833924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574925" y="1908175"/>
                <a:ext cx="425450" cy="416868"/>
              </a:xfrm>
              <a:prstGeom prst="line">
                <a:avLst/>
              </a:prstGeom>
              <a:ln w="19050">
                <a:solidFill>
                  <a:schemeClr val="accent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Rectangle : coins arrondis 31">
              <a:extLst>
                <a:ext uri="{FF2B5EF4-FFF2-40B4-BE49-F238E27FC236}">
                  <a16:creationId xmlns:a16="http://schemas.microsoft.com/office/drawing/2014/main" id="{CF282643-C55A-4265-98FE-52C1075A6489}"/>
                </a:ext>
              </a:extLst>
            </p:cNvPr>
            <p:cNvSpPr/>
            <p:nvPr/>
          </p:nvSpPr>
          <p:spPr>
            <a:xfrm>
              <a:off x="3014661" y="2037270"/>
              <a:ext cx="2043021" cy="514350"/>
            </a:xfrm>
            <a:prstGeom prst="roundRect">
              <a:avLst/>
            </a:prstGeom>
            <a:noFill/>
            <a:ln w="19050"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fr-FR" sz="1400" dirty="0"/>
                <a:t>Polis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07871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3.7037E-7 L -4.16667E-6 -0.0891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468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1.85185E-6 L -4.16667E-6 0.08935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6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5" grpId="0">
        <p:bldAsOne/>
      </p:bldGraphic>
      <p:bldGraphic spid="22" grpId="0">
        <p:bldAsOne/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me 3">
            <a:extLst>
              <a:ext uri="{FF2B5EF4-FFF2-40B4-BE49-F238E27FC236}">
                <a16:creationId xmlns:a16="http://schemas.microsoft.com/office/drawing/2014/main" id="{61756B1D-6698-44BC-AD3D-E1B042E7CD3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57000423"/>
              </p:ext>
            </p:extLst>
          </p:nvPr>
        </p:nvGraphicFramePr>
        <p:xfrm>
          <a:off x="2941638" y="1267354"/>
          <a:ext cx="6527798" cy="43518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6" name="Diagramme 5">
            <a:extLst>
              <a:ext uri="{FF2B5EF4-FFF2-40B4-BE49-F238E27FC236}">
                <a16:creationId xmlns:a16="http://schemas.microsoft.com/office/drawing/2014/main" id="{80AF4505-033F-4A10-8778-3E2FE6B752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5985580"/>
              </p:ext>
            </p:extLst>
          </p:nvPr>
        </p:nvGraphicFramePr>
        <p:xfrm>
          <a:off x="2932113" y="1238779"/>
          <a:ext cx="6527798" cy="43518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8" name="Titre 1">
            <a:extLst>
              <a:ext uri="{FF2B5EF4-FFF2-40B4-BE49-F238E27FC236}">
                <a16:creationId xmlns:a16="http://schemas.microsoft.com/office/drawing/2014/main" id="{C6B41752-F72A-4445-BA56-A4C0A88C0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050" y="365125"/>
            <a:ext cx="9118600" cy="1325563"/>
          </a:xfrm>
        </p:spPr>
        <p:txBody>
          <a:bodyPr/>
          <a:lstStyle/>
          <a:p>
            <a:r>
              <a:rPr lang="fr-FR" dirty="0"/>
              <a:t>Conception</a:t>
            </a:r>
          </a:p>
        </p:txBody>
      </p:sp>
    </p:spTree>
    <p:extLst>
      <p:ext uri="{BB962C8B-B14F-4D97-AF65-F5344CB8AC3E}">
        <p14:creationId xmlns:p14="http://schemas.microsoft.com/office/powerpoint/2010/main" val="330855137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  <p:bldGraphic spid="6" grpId="0">
        <p:bldAsOne/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BF6BA25E-2F7C-411A-9D29-CEEF675B76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2586" y="1328738"/>
            <a:ext cx="3926826" cy="3970121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B0B7A7AC-5F38-49F1-BC59-31A5D7EE4E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2053" y="4447920"/>
            <a:ext cx="5007891" cy="1155473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6BD13B9A-4A7D-43D2-AA2F-7D075F980A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1675" y="5048931"/>
            <a:ext cx="3068802" cy="1246701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9D7B7CD-A390-44CB-876D-0F7B4CA138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itch</a:t>
            </a:r>
          </a:p>
        </p:txBody>
      </p:sp>
    </p:spTree>
    <p:extLst>
      <p:ext uri="{BB962C8B-B14F-4D97-AF65-F5344CB8AC3E}">
        <p14:creationId xmlns:p14="http://schemas.microsoft.com/office/powerpoint/2010/main" val="148514915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15D242E3-4CB5-4267-9168-AAAAF9BF3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050" y="365125"/>
            <a:ext cx="9118600" cy="1325563"/>
          </a:xfrm>
        </p:spPr>
        <p:txBody>
          <a:bodyPr/>
          <a:lstStyle/>
          <a:p>
            <a:r>
              <a:rPr lang="fr-FR"/>
              <a:t>Maquette papier</a:t>
            </a:r>
            <a:endParaRPr lang="fr-FR" dirty="0"/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9F223A51-AAF7-4CED-98C1-C6DD383558D7}"/>
              </a:ext>
            </a:extLst>
          </p:cNvPr>
          <p:cNvGrpSpPr/>
          <p:nvPr/>
        </p:nvGrpSpPr>
        <p:grpSpPr>
          <a:xfrm>
            <a:off x="2100010" y="1690688"/>
            <a:ext cx="7991980" cy="4651604"/>
            <a:chOff x="2570162" y="1787525"/>
            <a:chExt cx="6821488" cy="3970338"/>
          </a:xfrm>
        </p:grpSpPr>
        <p:pic>
          <p:nvPicPr>
            <p:cNvPr id="20" name="Image 19">
              <a:extLst>
                <a:ext uri="{FF2B5EF4-FFF2-40B4-BE49-F238E27FC236}">
                  <a16:creationId xmlns:a16="http://schemas.microsoft.com/office/drawing/2014/main" id="{289E63BC-D988-4010-95E7-8E7182045EA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70162" y="1787525"/>
              <a:ext cx="2611438" cy="1938338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CE8A0DAD-9343-4698-B17D-58A43AC0B26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95750" y="3808413"/>
              <a:ext cx="1060450" cy="194945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24" name="Image 23">
              <a:extLst>
                <a:ext uri="{FF2B5EF4-FFF2-40B4-BE49-F238E27FC236}">
                  <a16:creationId xmlns:a16="http://schemas.microsoft.com/office/drawing/2014/main" id="{97606CF4-D67D-45B9-9F8C-630E23EE448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50200" y="3808413"/>
              <a:ext cx="1441450" cy="194945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25" name="Image 24">
              <a:extLst>
                <a:ext uri="{FF2B5EF4-FFF2-40B4-BE49-F238E27FC236}">
                  <a16:creationId xmlns:a16="http://schemas.microsoft.com/office/drawing/2014/main" id="{A09D3251-18C6-4F85-B908-C12FCAF6465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8750" y="3808413"/>
              <a:ext cx="2627313" cy="194945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26" name="Image 25">
              <a:extLst>
                <a:ext uri="{FF2B5EF4-FFF2-40B4-BE49-F238E27FC236}">
                  <a16:creationId xmlns:a16="http://schemas.microsoft.com/office/drawing/2014/main" id="{0D67975E-3A33-4F50-A3C7-C351DD82098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70162" y="3808413"/>
              <a:ext cx="1441450" cy="194945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27" name="Image 26">
              <a:extLst>
                <a:ext uri="{FF2B5EF4-FFF2-40B4-BE49-F238E27FC236}">
                  <a16:creationId xmlns:a16="http://schemas.microsoft.com/office/drawing/2014/main" id="{7B742D19-8E0B-401A-BE66-F1BC9AA3AF7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59725" y="1787525"/>
              <a:ext cx="1431925" cy="1938338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43807DFD-59E0-483D-BD68-D72F113DE21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65737" y="1787525"/>
              <a:ext cx="2611438" cy="1938338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252945954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15D242E3-4CB5-4267-9168-AAAAF9BF3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050" y="365125"/>
            <a:ext cx="9118600" cy="1325563"/>
          </a:xfrm>
        </p:spPr>
        <p:txBody>
          <a:bodyPr/>
          <a:lstStyle/>
          <a:p>
            <a:r>
              <a:rPr lang="fr-FR"/>
              <a:t>Maquette papier</a:t>
            </a:r>
            <a:endParaRPr lang="fr-FR" dirty="0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32F5145B-984C-4F23-B176-76C33C68ED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29" y="1390248"/>
            <a:ext cx="5436671" cy="4077504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5F616E40-F00A-4694-A0C3-C163194A26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8300" y="772901"/>
            <a:ext cx="4209479" cy="561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4458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2AE246F-B514-4768-8E7A-901FA9D213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Jeu vidéo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E4620AD7-347C-433B-8590-33DC89AF477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4275" y="1690688"/>
            <a:ext cx="1890319" cy="1904604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A967DFEF-5E7D-4494-BC50-AF1D0D8375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34181" y="1690688"/>
            <a:ext cx="5219700" cy="3857625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458A5E86-6C47-40C4-BE2A-DD84B0CC3E14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8119" y="3533375"/>
            <a:ext cx="1362678" cy="1362678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BE17682C-16FB-4A7B-83CE-DAA5255CD0D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3375" y="3782472"/>
            <a:ext cx="755622" cy="864483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BB20A1B6-879C-490D-AEF3-5F85D8793DA7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420" y="4728639"/>
            <a:ext cx="1011092" cy="864483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CAA24F6A-1FEE-4FE5-B743-C3FDCE9C60D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2615" y="4758463"/>
            <a:ext cx="1453685" cy="817698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79AE3C09-88AB-4B55-A9C3-6DBE69E94D1D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9574" y="4758463"/>
            <a:ext cx="843895" cy="843895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4D35140A-D8C1-4170-AA76-5B50F939A18B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9574" y="3789840"/>
            <a:ext cx="849745" cy="849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68520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A16E1A0-87DA-4BE9-975A-BD22C347D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ODO List</a:t>
            </a: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CF88DF0F-CC75-4470-AFED-6AF8D87872C1}"/>
              </a:ext>
            </a:extLst>
          </p:cNvPr>
          <p:cNvSpPr/>
          <p:nvPr/>
        </p:nvSpPr>
        <p:spPr>
          <a:xfrm>
            <a:off x="4368105" y="498799"/>
            <a:ext cx="1535906" cy="767953"/>
          </a:xfrm>
          <a:custGeom>
            <a:avLst/>
            <a:gdLst>
              <a:gd name="connsiteX0" fmla="*/ 0 w 1535906"/>
              <a:gd name="connsiteY0" fmla="*/ 76795 h 767953"/>
              <a:gd name="connsiteX1" fmla="*/ 76795 w 1535906"/>
              <a:gd name="connsiteY1" fmla="*/ 0 h 767953"/>
              <a:gd name="connsiteX2" fmla="*/ 1459111 w 1535906"/>
              <a:gd name="connsiteY2" fmla="*/ 0 h 767953"/>
              <a:gd name="connsiteX3" fmla="*/ 1535906 w 1535906"/>
              <a:gd name="connsiteY3" fmla="*/ 76795 h 767953"/>
              <a:gd name="connsiteX4" fmla="*/ 1535906 w 1535906"/>
              <a:gd name="connsiteY4" fmla="*/ 691158 h 767953"/>
              <a:gd name="connsiteX5" fmla="*/ 1459111 w 1535906"/>
              <a:gd name="connsiteY5" fmla="*/ 767953 h 767953"/>
              <a:gd name="connsiteX6" fmla="*/ 76795 w 1535906"/>
              <a:gd name="connsiteY6" fmla="*/ 767953 h 767953"/>
              <a:gd name="connsiteX7" fmla="*/ 0 w 1535906"/>
              <a:gd name="connsiteY7" fmla="*/ 691158 h 767953"/>
              <a:gd name="connsiteX8" fmla="*/ 0 w 1535906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35906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459111" y="0"/>
                </a:lnTo>
                <a:cubicBezTo>
                  <a:pt x="1501524" y="0"/>
                  <a:pt x="1535906" y="34382"/>
                  <a:pt x="1535906" y="76795"/>
                </a:cubicBezTo>
                <a:lnTo>
                  <a:pt x="1535906" y="691158"/>
                </a:lnTo>
                <a:cubicBezTo>
                  <a:pt x="1535906" y="733571"/>
                  <a:pt x="1501524" y="767953"/>
                  <a:pt x="1459111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8213" tIns="52973" rIns="68213" bIns="52973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2400" kern="1200" dirty="0"/>
              <a:t>Prioritaire</a:t>
            </a:r>
          </a:p>
        </p:txBody>
      </p:sp>
      <p:sp>
        <p:nvSpPr>
          <p:cNvPr id="30" name="Forme libre : forme 29">
            <a:extLst>
              <a:ext uri="{FF2B5EF4-FFF2-40B4-BE49-F238E27FC236}">
                <a16:creationId xmlns:a16="http://schemas.microsoft.com/office/drawing/2014/main" id="{8233682B-44AE-49A5-8F2B-B205812762C5}"/>
              </a:ext>
            </a:extLst>
          </p:cNvPr>
          <p:cNvSpPr/>
          <p:nvPr/>
        </p:nvSpPr>
        <p:spPr>
          <a:xfrm>
            <a:off x="4521696" y="1266752"/>
            <a:ext cx="153590" cy="65768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657686"/>
                </a:lnTo>
                <a:lnTo>
                  <a:pt x="153590" y="657686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26ED4786-4C6C-4D2C-845D-F7084C9018FB}"/>
              </a:ext>
            </a:extLst>
          </p:cNvPr>
          <p:cNvSpPr/>
          <p:nvPr/>
        </p:nvSpPr>
        <p:spPr>
          <a:xfrm>
            <a:off x="4675286" y="1458741"/>
            <a:ext cx="1228724" cy="931396"/>
          </a:xfrm>
          <a:custGeom>
            <a:avLst/>
            <a:gdLst>
              <a:gd name="connsiteX0" fmla="*/ 0 w 1228724"/>
              <a:gd name="connsiteY0" fmla="*/ 93140 h 931396"/>
              <a:gd name="connsiteX1" fmla="*/ 93140 w 1228724"/>
              <a:gd name="connsiteY1" fmla="*/ 0 h 931396"/>
              <a:gd name="connsiteX2" fmla="*/ 1135584 w 1228724"/>
              <a:gd name="connsiteY2" fmla="*/ 0 h 931396"/>
              <a:gd name="connsiteX3" fmla="*/ 1228724 w 1228724"/>
              <a:gd name="connsiteY3" fmla="*/ 93140 h 931396"/>
              <a:gd name="connsiteX4" fmla="*/ 1228724 w 1228724"/>
              <a:gd name="connsiteY4" fmla="*/ 838256 h 931396"/>
              <a:gd name="connsiteX5" fmla="*/ 1135584 w 1228724"/>
              <a:gd name="connsiteY5" fmla="*/ 931396 h 931396"/>
              <a:gd name="connsiteX6" fmla="*/ 93140 w 1228724"/>
              <a:gd name="connsiteY6" fmla="*/ 931396 h 931396"/>
              <a:gd name="connsiteX7" fmla="*/ 0 w 1228724"/>
              <a:gd name="connsiteY7" fmla="*/ 838256 h 931396"/>
              <a:gd name="connsiteX8" fmla="*/ 0 w 1228724"/>
              <a:gd name="connsiteY8" fmla="*/ 93140 h 931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931396">
                <a:moveTo>
                  <a:pt x="0" y="93140"/>
                </a:moveTo>
                <a:cubicBezTo>
                  <a:pt x="0" y="41700"/>
                  <a:pt x="41700" y="0"/>
                  <a:pt x="93140" y="0"/>
                </a:cubicBezTo>
                <a:lnTo>
                  <a:pt x="1135584" y="0"/>
                </a:lnTo>
                <a:cubicBezTo>
                  <a:pt x="1187024" y="0"/>
                  <a:pt x="1228724" y="41700"/>
                  <a:pt x="1228724" y="93140"/>
                </a:cubicBezTo>
                <a:lnTo>
                  <a:pt x="1228724" y="838256"/>
                </a:lnTo>
                <a:cubicBezTo>
                  <a:pt x="1228724" y="889696"/>
                  <a:pt x="1187024" y="931396"/>
                  <a:pt x="1135584" y="931396"/>
                </a:cubicBezTo>
                <a:lnTo>
                  <a:pt x="93140" y="931396"/>
                </a:lnTo>
                <a:cubicBezTo>
                  <a:pt x="41700" y="931396"/>
                  <a:pt x="0" y="889696"/>
                  <a:pt x="0" y="838256"/>
                </a:cubicBezTo>
                <a:lnTo>
                  <a:pt x="0" y="93140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570" tIns="50140" rIns="61570" bIns="50140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/>
              <a:t>Gameplay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Tir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Time slow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Victoire / défaite</a:t>
            </a:r>
          </a:p>
        </p:txBody>
      </p:sp>
      <p:sp>
        <p:nvSpPr>
          <p:cNvPr id="32" name="Forme libre : forme 31">
            <a:extLst>
              <a:ext uri="{FF2B5EF4-FFF2-40B4-BE49-F238E27FC236}">
                <a16:creationId xmlns:a16="http://schemas.microsoft.com/office/drawing/2014/main" id="{A2B2CC47-B1EB-4279-9DB9-3316B4707EF3}"/>
              </a:ext>
            </a:extLst>
          </p:cNvPr>
          <p:cNvSpPr/>
          <p:nvPr/>
        </p:nvSpPr>
        <p:spPr>
          <a:xfrm>
            <a:off x="4521696" y="1266752"/>
            <a:ext cx="153590" cy="172091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720917"/>
                </a:lnTo>
                <a:lnTo>
                  <a:pt x="153590" y="1720917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8F7C3B6A-95B7-475A-9811-D8945C0B81E9}"/>
              </a:ext>
            </a:extLst>
          </p:cNvPr>
          <p:cNvSpPr/>
          <p:nvPr/>
        </p:nvSpPr>
        <p:spPr>
          <a:xfrm>
            <a:off x="4675286" y="2582126"/>
            <a:ext cx="1228724" cy="811089"/>
          </a:xfrm>
          <a:custGeom>
            <a:avLst/>
            <a:gdLst>
              <a:gd name="connsiteX0" fmla="*/ 0 w 1228724"/>
              <a:gd name="connsiteY0" fmla="*/ 81109 h 811089"/>
              <a:gd name="connsiteX1" fmla="*/ 81109 w 1228724"/>
              <a:gd name="connsiteY1" fmla="*/ 0 h 811089"/>
              <a:gd name="connsiteX2" fmla="*/ 1147615 w 1228724"/>
              <a:gd name="connsiteY2" fmla="*/ 0 h 811089"/>
              <a:gd name="connsiteX3" fmla="*/ 1228724 w 1228724"/>
              <a:gd name="connsiteY3" fmla="*/ 81109 h 811089"/>
              <a:gd name="connsiteX4" fmla="*/ 1228724 w 1228724"/>
              <a:gd name="connsiteY4" fmla="*/ 729980 h 811089"/>
              <a:gd name="connsiteX5" fmla="*/ 1147615 w 1228724"/>
              <a:gd name="connsiteY5" fmla="*/ 811089 h 811089"/>
              <a:gd name="connsiteX6" fmla="*/ 81109 w 1228724"/>
              <a:gd name="connsiteY6" fmla="*/ 811089 h 811089"/>
              <a:gd name="connsiteX7" fmla="*/ 0 w 1228724"/>
              <a:gd name="connsiteY7" fmla="*/ 729980 h 811089"/>
              <a:gd name="connsiteX8" fmla="*/ 0 w 1228724"/>
              <a:gd name="connsiteY8" fmla="*/ 81109 h 811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811089">
                <a:moveTo>
                  <a:pt x="0" y="81109"/>
                </a:moveTo>
                <a:cubicBezTo>
                  <a:pt x="0" y="36314"/>
                  <a:pt x="36314" y="0"/>
                  <a:pt x="81109" y="0"/>
                </a:cubicBezTo>
                <a:lnTo>
                  <a:pt x="1147615" y="0"/>
                </a:lnTo>
                <a:cubicBezTo>
                  <a:pt x="1192410" y="0"/>
                  <a:pt x="1228724" y="36314"/>
                  <a:pt x="1228724" y="81109"/>
                </a:cubicBezTo>
                <a:lnTo>
                  <a:pt x="1228724" y="729980"/>
                </a:lnTo>
                <a:cubicBezTo>
                  <a:pt x="1228724" y="774775"/>
                  <a:pt x="1192410" y="811089"/>
                  <a:pt x="1147615" y="811089"/>
                </a:cubicBezTo>
                <a:lnTo>
                  <a:pt x="81109" y="811089"/>
                </a:lnTo>
                <a:cubicBezTo>
                  <a:pt x="36314" y="811089"/>
                  <a:pt x="0" y="774775"/>
                  <a:pt x="0" y="729980"/>
                </a:cubicBezTo>
                <a:lnTo>
                  <a:pt x="0" y="81109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046" tIns="46616" rIns="58046" bIns="46616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/>
              <a:t>Feedbacks</a:t>
            </a:r>
            <a:endParaRPr lang="fr-FR" sz="1600" kern="1200" dirty="0"/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VFX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SFX</a:t>
            </a:r>
          </a:p>
        </p:txBody>
      </p:sp>
      <p:sp>
        <p:nvSpPr>
          <p:cNvPr id="34" name="Forme libre : forme 33">
            <a:extLst>
              <a:ext uri="{FF2B5EF4-FFF2-40B4-BE49-F238E27FC236}">
                <a16:creationId xmlns:a16="http://schemas.microsoft.com/office/drawing/2014/main" id="{67799572-DC9B-470B-95B0-93A02DA929F9}"/>
              </a:ext>
            </a:extLst>
          </p:cNvPr>
          <p:cNvSpPr/>
          <p:nvPr/>
        </p:nvSpPr>
        <p:spPr>
          <a:xfrm>
            <a:off x="4521696" y="1266752"/>
            <a:ext cx="153590" cy="2811653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811653"/>
                </a:lnTo>
                <a:lnTo>
                  <a:pt x="153590" y="2811653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5" name="Forme libre : forme 34">
            <a:extLst>
              <a:ext uri="{FF2B5EF4-FFF2-40B4-BE49-F238E27FC236}">
                <a16:creationId xmlns:a16="http://schemas.microsoft.com/office/drawing/2014/main" id="{CBD78435-23E7-45B5-AE83-7D1E10CB0493}"/>
              </a:ext>
            </a:extLst>
          </p:cNvPr>
          <p:cNvSpPr/>
          <p:nvPr/>
        </p:nvSpPr>
        <p:spPr>
          <a:xfrm>
            <a:off x="4675286" y="3585203"/>
            <a:ext cx="1228724" cy="986405"/>
          </a:xfrm>
          <a:custGeom>
            <a:avLst/>
            <a:gdLst>
              <a:gd name="connsiteX0" fmla="*/ 0 w 1228724"/>
              <a:gd name="connsiteY0" fmla="*/ 98641 h 986405"/>
              <a:gd name="connsiteX1" fmla="*/ 98641 w 1228724"/>
              <a:gd name="connsiteY1" fmla="*/ 0 h 986405"/>
              <a:gd name="connsiteX2" fmla="*/ 1130084 w 1228724"/>
              <a:gd name="connsiteY2" fmla="*/ 0 h 986405"/>
              <a:gd name="connsiteX3" fmla="*/ 1228725 w 1228724"/>
              <a:gd name="connsiteY3" fmla="*/ 98641 h 986405"/>
              <a:gd name="connsiteX4" fmla="*/ 1228724 w 1228724"/>
              <a:gd name="connsiteY4" fmla="*/ 887765 h 986405"/>
              <a:gd name="connsiteX5" fmla="*/ 1130083 w 1228724"/>
              <a:gd name="connsiteY5" fmla="*/ 986406 h 986405"/>
              <a:gd name="connsiteX6" fmla="*/ 98641 w 1228724"/>
              <a:gd name="connsiteY6" fmla="*/ 986405 h 986405"/>
              <a:gd name="connsiteX7" fmla="*/ 0 w 1228724"/>
              <a:gd name="connsiteY7" fmla="*/ 887764 h 986405"/>
              <a:gd name="connsiteX8" fmla="*/ 0 w 1228724"/>
              <a:gd name="connsiteY8" fmla="*/ 98641 h 986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986405">
                <a:moveTo>
                  <a:pt x="0" y="98641"/>
                </a:moveTo>
                <a:cubicBezTo>
                  <a:pt x="0" y="44163"/>
                  <a:pt x="44163" y="0"/>
                  <a:pt x="98641" y="0"/>
                </a:cubicBezTo>
                <a:lnTo>
                  <a:pt x="1130084" y="0"/>
                </a:lnTo>
                <a:cubicBezTo>
                  <a:pt x="1184562" y="0"/>
                  <a:pt x="1228725" y="44163"/>
                  <a:pt x="1228725" y="98641"/>
                </a:cubicBezTo>
                <a:cubicBezTo>
                  <a:pt x="1228725" y="361682"/>
                  <a:pt x="1228724" y="624724"/>
                  <a:pt x="1228724" y="887765"/>
                </a:cubicBezTo>
                <a:cubicBezTo>
                  <a:pt x="1228724" y="942243"/>
                  <a:pt x="1184561" y="986406"/>
                  <a:pt x="1130083" y="986406"/>
                </a:cubicBezTo>
                <a:lnTo>
                  <a:pt x="98641" y="986405"/>
                </a:lnTo>
                <a:cubicBezTo>
                  <a:pt x="44163" y="986405"/>
                  <a:pt x="0" y="942242"/>
                  <a:pt x="0" y="887764"/>
                </a:cubicBezTo>
                <a:lnTo>
                  <a:pt x="0" y="98641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3181" tIns="51751" rIns="63181" bIns="51751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/>
              <a:t>Assets</a:t>
            </a:r>
            <a:endParaRPr lang="fr-FR" sz="1600" kern="1200" dirty="0"/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Didier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Ennemi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 err="1"/>
              <a:t>Map</a:t>
            </a:r>
            <a:endParaRPr lang="fr-FR" sz="1100" kern="1200" dirty="0"/>
          </a:p>
        </p:txBody>
      </p:sp>
      <p:sp>
        <p:nvSpPr>
          <p:cNvPr id="36" name="Forme libre : forme 35">
            <a:extLst>
              <a:ext uri="{FF2B5EF4-FFF2-40B4-BE49-F238E27FC236}">
                <a16:creationId xmlns:a16="http://schemas.microsoft.com/office/drawing/2014/main" id="{D0BE56FD-3BDA-4851-8CDA-027E417E58E6}"/>
              </a:ext>
            </a:extLst>
          </p:cNvPr>
          <p:cNvSpPr/>
          <p:nvPr/>
        </p:nvSpPr>
        <p:spPr>
          <a:xfrm>
            <a:off x="4521696" y="1266752"/>
            <a:ext cx="153590" cy="388082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3880820"/>
                </a:lnTo>
                <a:lnTo>
                  <a:pt x="153590" y="3880820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7" name="Forme libre : forme 36">
            <a:extLst>
              <a:ext uri="{FF2B5EF4-FFF2-40B4-BE49-F238E27FC236}">
                <a16:creationId xmlns:a16="http://schemas.microsoft.com/office/drawing/2014/main" id="{173E9E4B-CCAE-4A18-B943-FE69BE017CB2}"/>
              </a:ext>
            </a:extLst>
          </p:cNvPr>
          <p:cNvSpPr/>
          <p:nvPr/>
        </p:nvSpPr>
        <p:spPr>
          <a:xfrm>
            <a:off x="4675286" y="4763596"/>
            <a:ext cx="1228724" cy="767953"/>
          </a:xfrm>
          <a:custGeom>
            <a:avLst/>
            <a:gdLst>
              <a:gd name="connsiteX0" fmla="*/ 0 w 1228724"/>
              <a:gd name="connsiteY0" fmla="*/ 76795 h 767953"/>
              <a:gd name="connsiteX1" fmla="*/ 76795 w 1228724"/>
              <a:gd name="connsiteY1" fmla="*/ 0 h 767953"/>
              <a:gd name="connsiteX2" fmla="*/ 1151929 w 1228724"/>
              <a:gd name="connsiteY2" fmla="*/ 0 h 767953"/>
              <a:gd name="connsiteX3" fmla="*/ 1228724 w 1228724"/>
              <a:gd name="connsiteY3" fmla="*/ 76795 h 767953"/>
              <a:gd name="connsiteX4" fmla="*/ 1228724 w 1228724"/>
              <a:gd name="connsiteY4" fmla="*/ 691158 h 767953"/>
              <a:gd name="connsiteX5" fmla="*/ 1151929 w 1228724"/>
              <a:gd name="connsiteY5" fmla="*/ 767953 h 767953"/>
              <a:gd name="connsiteX6" fmla="*/ 76795 w 1228724"/>
              <a:gd name="connsiteY6" fmla="*/ 767953 h 767953"/>
              <a:gd name="connsiteX7" fmla="*/ 0 w 1228724"/>
              <a:gd name="connsiteY7" fmla="*/ 691158 h 767953"/>
              <a:gd name="connsiteX8" fmla="*/ 0 w 1228724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151929" y="0"/>
                </a:lnTo>
                <a:cubicBezTo>
                  <a:pt x="1194342" y="0"/>
                  <a:pt x="1228724" y="34382"/>
                  <a:pt x="1228724" y="76795"/>
                </a:cubicBezTo>
                <a:lnTo>
                  <a:pt x="1228724" y="691158"/>
                </a:lnTo>
                <a:cubicBezTo>
                  <a:pt x="1228724" y="733571"/>
                  <a:pt x="1194342" y="767953"/>
                  <a:pt x="1151929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783" tIns="45353" rIns="56783" bIns="45353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/>
              <a:t>UI</a:t>
            </a:r>
            <a:endParaRPr lang="fr-FR" sz="1600" kern="1200" dirty="0"/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/>
              <a:t>Menu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 err="1"/>
              <a:t>Endgame</a:t>
            </a:r>
            <a:endParaRPr lang="fr-FR" sz="1100" kern="1200" dirty="0"/>
          </a:p>
        </p:txBody>
      </p:sp>
      <p:sp>
        <p:nvSpPr>
          <p:cNvPr id="38" name="Forme libre : forme 37">
            <a:extLst>
              <a:ext uri="{FF2B5EF4-FFF2-40B4-BE49-F238E27FC236}">
                <a16:creationId xmlns:a16="http://schemas.microsoft.com/office/drawing/2014/main" id="{1B485E35-DA6B-4DD8-8485-4412CD9D77AF}"/>
              </a:ext>
            </a:extLst>
          </p:cNvPr>
          <p:cNvSpPr/>
          <p:nvPr/>
        </p:nvSpPr>
        <p:spPr>
          <a:xfrm>
            <a:off x="4521696" y="1266752"/>
            <a:ext cx="153590" cy="484076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4840761"/>
                </a:lnTo>
                <a:lnTo>
                  <a:pt x="153590" y="4840761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9" name="Forme libre : forme 38">
            <a:extLst>
              <a:ext uri="{FF2B5EF4-FFF2-40B4-BE49-F238E27FC236}">
                <a16:creationId xmlns:a16="http://schemas.microsoft.com/office/drawing/2014/main" id="{364DEF19-8F1C-44E6-87ED-EB57E0540C00}"/>
              </a:ext>
            </a:extLst>
          </p:cNvPr>
          <p:cNvSpPr/>
          <p:nvPr/>
        </p:nvSpPr>
        <p:spPr>
          <a:xfrm>
            <a:off x="4675286" y="5723538"/>
            <a:ext cx="1228724" cy="767953"/>
          </a:xfrm>
          <a:custGeom>
            <a:avLst/>
            <a:gdLst>
              <a:gd name="connsiteX0" fmla="*/ 0 w 1228724"/>
              <a:gd name="connsiteY0" fmla="*/ 76795 h 767953"/>
              <a:gd name="connsiteX1" fmla="*/ 76795 w 1228724"/>
              <a:gd name="connsiteY1" fmla="*/ 0 h 767953"/>
              <a:gd name="connsiteX2" fmla="*/ 1151929 w 1228724"/>
              <a:gd name="connsiteY2" fmla="*/ 0 h 767953"/>
              <a:gd name="connsiteX3" fmla="*/ 1228724 w 1228724"/>
              <a:gd name="connsiteY3" fmla="*/ 76795 h 767953"/>
              <a:gd name="connsiteX4" fmla="*/ 1228724 w 1228724"/>
              <a:gd name="connsiteY4" fmla="*/ 691158 h 767953"/>
              <a:gd name="connsiteX5" fmla="*/ 1151929 w 1228724"/>
              <a:gd name="connsiteY5" fmla="*/ 767953 h 767953"/>
              <a:gd name="connsiteX6" fmla="*/ 76795 w 1228724"/>
              <a:gd name="connsiteY6" fmla="*/ 767953 h 767953"/>
              <a:gd name="connsiteX7" fmla="*/ 0 w 1228724"/>
              <a:gd name="connsiteY7" fmla="*/ 691158 h 767953"/>
              <a:gd name="connsiteX8" fmla="*/ 0 w 1228724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151929" y="0"/>
                </a:lnTo>
                <a:cubicBezTo>
                  <a:pt x="1194342" y="0"/>
                  <a:pt x="1228724" y="34382"/>
                  <a:pt x="1228724" y="76795"/>
                </a:cubicBezTo>
                <a:lnTo>
                  <a:pt x="1228724" y="691158"/>
                </a:lnTo>
                <a:cubicBezTo>
                  <a:pt x="1228724" y="733571"/>
                  <a:pt x="1194342" y="767953"/>
                  <a:pt x="1151929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783" tIns="45353" rIns="56783" bIns="45353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/>
              <a:t>1 niveau</a:t>
            </a:r>
          </a:p>
        </p:txBody>
      </p:sp>
      <p:sp>
        <p:nvSpPr>
          <p:cNvPr id="40" name="Forme libre : forme 39">
            <a:extLst>
              <a:ext uri="{FF2B5EF4-FFF2-40B4-BE49-F238E27FC236}">
                <a16:creationId xmlns:a16="http://schemas.microsoft.com/office/drawing/2014/main" id="{29EB7781-C70C-49F0-B669-4D54E83830E2}"/>
              </a:ext>
            </a:extLst>
          </p:cNvPr>
          <p:cNvSpPr/>
          <p:nvPr/>
        </p:nvSpPr>
        <p:spPr>
          <a:xfrm>
            <a:off x="6621363" y="498799"/>
            <a:ext cx="1535906" cy="767953"/>
          </a:xfrm>
          <a:custGeom>
            <a:avLst/>
            <a:gdLst>
              <a:gd name="connsiteX0" fmla="*/ 0 w 1535906"/>
              <a:gd name="connsiteY0" fmla="*/ 76795 h 767953"/>
              <a:gd name="connsiteX1" fmla="*/ 76795 w 1535906"/>
              <a:gd name="connsiteY1" fmla="*/ 0 h 767953"/>
              <a:gd name="connsiteX2" fmla="*/ 1459111 w 1535906"/>
              <a:gd name="connsiteY2" fmla="*/ 0 h 767953"/>
              <a:gd name="connsiteX3" fmla="*/ 1535906 w 1535906"/>
              <a:gd name="connsiteY3" fmla="*/ 76795 h 767953"/>
              <a:gd name="connsiteX4" fmla="*/ 1535906 w 1535906"/>
              <a:gd name="connsiteY4" fmla="*/ 691158 h 767953"/>
              <a:gd name="connsiteX5" fmla="*/ 1459111 w 1535906"/>
              <a:gd name="connsiteY5" fmla="*/ 767953 h 767953"/>
              <a:gd name="connsiteX6" fmla="*/ 76795 w 1535906"/>
              <a:gd name="connsiteY6" fmla="*/ 767953 h 767953"/>
              <a:gd name="connsiteX7" fmla="*/ 0 w 1535906"/>
              <a:gd name="connsiteY7" fmla="*/ 691158 h 767953"/>
              <a:gd name="connsiteX8" fmla="*/ 0 w 1535906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35906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459111" y="0"/>
                </a:lnTo>
                <a:cubicBezTo>
                  <a:pt x="1501524" y="0"/>
                  <a:pt x="1535906" y="34382"/>
                  <a:pt x="1535906" y="76795"/>
                </a:cubicBezTo>
                <a:lnTo>
                  <a:pt x="1535906" y="691158"/>
                </a:lnTo>
                <a:cubicBezTo>
                  <a:pt x="1535906" y="733571"/>
                  <a:pt x="1501524" y="767953"/>
                  <a:pt x="1459111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8213" tIns="52973" rIns="68213" bIns="52973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2400" kern="1200" dirty="0"/>
              <a:t>Secondaire</a:t>
            </a:r>
          </a:p>
        </p:txBody>
      </p:sp>
      <p:sp>
        <p:nvSpPr>
          <p:cNvPr id="41" name="Forme libre : forme 40">
            <a:extLst>
              <a:ext uri="{FF2B5EF4-FFF2-40B4-BE49-F238E27FC236}">
                <a16:creationId xmlns:a16="http://schemas.microsoft.com/office/drawing/2014/main" id="{AB62141F-3B73-4146-A949-E6B0F820F153}"/>
              </a:ext>
            </a:extLst>
          </p:cNvPr>
          <p:cNvSpPr/>
          <p:nvPr/>
        </p:nvSpPr>
        <p:spPr>
          <a:xfrm>
            <a:off x="6774953" y="1266752"/>
            <a:ext cx="153590" cy="57596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575964"/>
                </a:lnTo>
                <a:lnTo>
                  <a:pt x="153590" y="575964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EFBD6D19-93D4-4259-B2B6-C37495AEA3E4}"/>
              </a:ext>
            </a:extLst>
          </p:cNvPr>
          <p:cNvSpPr/>
          <p:nvPr/>
        </p:nvSpPr>
        <p:spPr>
          <a:xfrm>
            <a:off x="6928544" y="1458741"/>
            <a:ext cx="1228724" cy="767953"/>
          </a:xfrm>
          <a:custGeom>
            <a:avLst/>
            <a:gdLst>
              <a:gd name="connsiteX0" fmla="*/ 0 w 1228724"/>
              <a:gd name="connsiteY0" fmla="*/ 76795 h 767953"/>
              <a:gd name="connsiteX1" fmla="*/ 76795 w 1228724"/>
              <a:gd name="connsiteY1" fmla="*/ 0 h 767953"/>
              <a:gd name="connsiteX2" fmla="*/ 1151929 w 1228724"/>
              <a:gd name="connsiteY2" fmla="*/ 0 h 767953"/>
              <a:gd name="connsiteX3" fmla="*/ 1228724 w 1228724"/>
              <a:gd name="connsiteY3" fmla="*/ 76795 h 767953"/>
              <a:gd name="connsiteX4" fmla="*/ 1228724 w 1228724"/>
              <a:gd name="connsiteY4" fmla="*/ 691158 h 767953"/>
              <a:gd name="connsiteX5" fmla="*/ 1151929 w 1228724"/>
              <a:gd name="connsiteY5" fmla="*/ 767953 h 767953"/>
              <a:gd name="connsiteX6" fmla="*/ 76795 w 1228724"/>
              <a:gd name="connsiteY6" fmla="*/ 767953 h 767953"/>
              <a:gd name="connsiteX7" fmla="*/ 0 w 1228724"/>
              <a:gd name="connsiteY7" fmla="*/ 691158 h 767953"/>
              <a:gd name="connsiteX8" fmla="*/ 0 w 1228724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151929" y="0"/>
                </a:lnTo>
                <a:cubicBezTo>
                  <a:pt x="1194342" y="0"/>
                  <a:pt x="1228724" y="34382"/>
                  <a:pt x="1228724" y="76795"/>
                </a:cubicBezTo>
                <a:lnTo>
                  <a:pt x="1228724" y="691158"/>
                </a:lnTo>
                <a:cubicBezTo>
                  <a:pt x="1228724" y="733571"/>
                  <a:pt x="1194342" y="767953"/>
                  <a:pt x="1151929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783" tIns="45353" rIns="56783" bIns="45353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>
                <a:solidFill>
                  <a:schemeClr val="accent3">
                    <a:lumMod val="50000"/>
                  </a:schemeClr>
                </a:solidFill>
              </a:rPr>
              <a:t>Vidéo intro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52512DE-E3DB-4C15-906B-BDB0D2D6994D}"/>
              </a:ext>
            </a:extLst>
          </p:cNvPr>
          <p:cNvSpPr/>
          <p:nvPr/>
        </p:nvSpPr>
        <p:spPr>
          <a:xfrm>
            <a:off x="6774953" y="1266752"/>
            <a:ext cx="153590" cy="153590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535906"/>
                </a:lnTo>
                <a:lnTo>
                  <a:pt x="153590" y="1535906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4" name="Forme libre : forme 43">
            <a:extLst>
              <a:ext uri="{FF2B5EF4-FFF2-40B4-BE49-F238E27FC236}">
                <a16:creationId xmlns:a16="http://schemas.microsoft.com/office/drawing/2014/main" id="{701F7700-A815-4C2A-B7F8-EC76AB6F43A0}"/>
              </a:ext>
            </a:extLst>
          </p:cNvPr>
          <p:cNvSpPr/>
          <p:nvPr/>
        </p:nvSpPr>
        <p:spPr>
          <a:xfrm>
            <a:off x="6928544" y="2418682"/>
            <a:ext cx="1228724" cy="767953"/>
          </a:xfrm>
          <a:custGeom>
            <a:avLst/>
            <a:gdLst>
              <a:gd name="connsiteX0" fmla="*/ 0 w 1228724"/>
              <a:gd name="connsiteY0" fmla="*/ 76795 h 767953"/>
              <a:gd name="connsiteX1" fmla="*/ 76795 w 1228724"/>
              <a:gd name="connsiteY1" fmla="*/ 0 h 767953"/>
              <a:gd name="connsiteX2" fmla="*/ 1151929 w 1228724"/>
              <a:gd name="connsiteY2" fmla="*/ 0 h 767953"/>
              <a:gd name="connsiteX3" fmla="*/ 1228724 w 1228724"/>
              <a:gd name="connsiteY3" fmla="*/ 76795 h 767953"/>
              <a:gd name="connsiteX4" fmla="*/ 1228724 w 1228724"/>
              <a:gd name="connsiteY4" fmla="*/ 691158 h 767953"/>
              <a:gd name="connsiteX5" fmla="*/ 1151929 w 1228724"/>
              <a:gd name="connsiteY5" fmla="*/ 767953 h 767953"/>
              <a:gd name="connsiteX6" fmla="*/ 76795 w 1228724"/>
              <a:gd name="connsiteY6" fmla="*/ 767953 h 767953"/>
              <a:gd name="connsiteX7" fmla="*/ 0 w 1228724"/>
              <a:gd name="connsiteY7" fmla="*/ 691158 h 767953"/>
              <a:gd name="connsiteX8" fmla="*/ 0 w 1228724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151929" y="0"/>
                </a:lnTo>
                <a:cubicBezTo>
                  <a:pt x="1194342" y="0"/>
                  <a:pt x="1228724" y="34382"/>
                  <a:pt x="1228724" y="76795"/>
                </a:cubicBezTo>
                <a:lnTo>
                  <a:pt x="1228724" y="691158"/>
                </a:lnTo>
                <a:cubicBezTo>
                  <a:pt x="1228724" y="733571"/>
                  <a:pt x="1194342" y="767953"/>
                  <a:pt x="1151929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783" tIns="45353" rIns="56783" bIns="45353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>
                <a:solidFill>
                  <a:schemeClr val="accent3">
                    <a:lumMod val="50000"/>
                  </a:schemeClr>
                </a:solidFill>
              </a:rPr>
              <a:t>UI</a:t>
            </a:r>
            <a:endParaRPr lang="fr-FR" sz="1600" kern="1200" dirty="0">
              <a:solidFill>
                <a:schemeClr val="accent3">
                  <a:lumMod val="50000"/>
                </a:schemeClr>
              </a:solidFill>
            </a:endParaRP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>
                <a:solidFill>
                  <a:schemeClr val="accent3">
                    <a:lumMod val="50000"/>
                  </a:schemeClr>
                </a:solidFill>
              </a:rPr>
              <a:t>Pause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>
                <a:solidFill>
                  <a:schemeClr val="accent3">
                    <a:lumMod val="50000"/>
                  </a:schemeClr>
                </a:solidFill>
              </a:rPr>
              <a:t>Settings</a:t>
            </a:r>
          </a:p>
        </p:txBody>
      </p:sp>
      <p:sp>
        <p:nvSpPr>
          <p:cNvPr id="45" name="Forme libre : forme 44">
            <a:extLst>
              <a:ext uri="{FF2B5EF4-FFF2-40B4-BE49-F238E27FC236}">
                <a16:creationId xmlns:a16="http://schemas.microsoft.com/office/drawing/2014/main" id="{50F34311-362F-4418-A063-A68DB7263FD7}"/>
              </a:ext>
            </a:extLst>
          </p:cNvPr>
          <p:cNvSpPr/>
          <p:nvPr/>
        </p:nvSpPr>
        <p:spPr>
          <a:xfrm>
            <a:off x="6774953" y="1266752"/>
            <a:ext cx="153590" cy="2584722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584722"/>
                </a:lnTo>
                <a:lnTo>
                  <a:pt x="153590" y="2584722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6" name="Forme libre : forme 45">
            <a:extLst>
              <a:ext uri="{FF2B5EF4-FFF2-40B4-BE49-F238E27FC236}">
                <a16:creationId xmlns:a16="http://schemas.microsoft.com/office/drawing/2014/main" id="{4E54EF03-9DC2-4F71-B7B9-22DC182E485D}"/>
              </a:ext>
            </a:extLst>
          </p:cNvPr>
          <p:cNvSpPr/>
          <p:nvPr/>
        </p:nvSpPr>
        <p:spPr>
          <a:xfrm>
            <a:off x="6928544" y="3378623"/>
            <a:ext cx="1228724" cy="945703"/>
          </a:xfrm>
          <a:custGeom>
            <a:avLst/>
            <a:gdLst>
              <a:gd name="connsiteX0" fmla="*/ 0 w 1228724"/>
              <a:gd name="connsiteY0" fmla="*/ 94570 h 945703"/>
              <a:gd name="connsiteX1" fmla="*/ 94570 w 1228724"/>
              <a:gd name="connsiteY1" fmla="*/ 0 h 945703"/>
              <a:gd name="connsiteX2" fmla="*/ 1134154 w 1228724"/>
              <a:gd name="connsiteY2" fmla="*/ 0 h 945703"/>
              <a:gd name="connsiteX3" fmla="*/ 1228724 w 1228724"/>
              <a:gd name="connsiteY3" fmla="*/ 94570 h 945703"/>
              <a:gd name="connsiteX4" fmla="*/ 1228724 w 1228724"/>
              <a:gd name="connsiteY4" fmla="*/ 851133 h 945703"/>
              <a:gd name="connsiteX5" fmla="*/ 1134154 w 1228724"/>
              <a:gd name="connsiteY5" fmla="*/ 945703 h 945703"/>
              <a:gd name="connsiteX6" fmla="*/ 94570 w 1228724"/>
              <a:gd name="connsiteY6" fmla="*/ 945703 h 945703"/>
              <a:gd name="connsiteX7" fmla="*/ 0 w 1228724"/>
              <a:gd name="connsiteY7" fmla="*/ 851133 h 945703"/>
              <a:gd name="connsiteX8" fmla="*/ 0 w 1228724"/>
              <a:gd name="connsiteY8" fmla="*/ 94570 h 945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945703">
                <a:moveTo>
                  <a:pt x="0" y="94570"/>
                </a:moveTo>
                <a:cubicBezTo>
                  <a:pt x="0" y="42340"/>
                  <a:pt x="42340" y="0"/>
                  <a:pt x="94570" y="0"/>
                </a:cubicBezTo>
                <a:lnTo>
                  <a:pt x="1134154" y="0"/>
                </a:lnTo>
                <a:cubicBezTo>
                  <a:pt x="1186384" y="0"/>
                  <a:pt x="1228724" y="42340"/>
                  <a:pt x="1228724" y="94570"/>
                </a:cubicBezTo>
                <a:lnTo>
                  <a:pt x="1228724" y="851133"/>
                </a:lnTo>
                <a:cubicBezTo>
                  <a:pt x="1228724" y="903363"/>
                  <a:pt x="1186384" y="945703"/>
                  <a:pt x="1134154" y="945703"/>
                </a:cubicBezTo>
                <a:lnTo>
                  <a:pt x="94570" y="945703"/>
                </a:lnTo>
                <a:cubicBezTo>
                  <a:pt x="42340" y="945703"/>
                  <a:pt x="0" y="903363"/>
                  <a:pt x="0" y="851133"/>
                </a:cubicBezTo>
                <a:lnTo>
                  <a:pt x="0" y="94570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989" tIns="50559" rIns="61989" bIns="50559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>
                <a:solidFill>
                  <a:schemeClr val="accent3">
                    <a:lumMod val="50000"/>
                  </a:schemeClr>
                </a:solidFill>
              </a:rPr>
              <a:t>Assets</a:t>
            </a:r>
            <a:endParaRPr lang="fr-FR" sz="1600" kern="1200" dirty="0">
              <a:solidFill>
                <a:schemeClr val="accent3">
                  <a:lumMod val="50000"/>
                </a:schemeClr>
              </a:solidFill>
            </a:endParaRP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>
                <a:solidFill>
                  <a:schemeClr val="accent3">
                    <a:lumMod val="50000"/>
                  </a:schemeClr>
                </a:solidFill>
              </a:rPr>
              <a:t>Animations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 err="1">
                <a:solidFill>
                  <a:schemeClr val="accent3">
                    <a:lumMod val="50000"/>
                  </a:schemeClr>
                </a:solidFill>
              </a:rPr>
              <a:t>Skybox</a:t>
            </a:r>
            <a:endParaRPr lang="fr-FR" sz="1100" kern="1200" dirty="0">
              <a:solidFill>
                <a:schemeClr val="accent3">
                  <a:lumMod val="50000"/>
                </a:schemeClr>
              </a:solidFill>
            </a:endParaRP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kern="1200" dirty="0">
                <a:solidFill>
                  <a:schemeClr val="accent3">
                    <a:lumMod val="50000"/>
                  </a:schemeClr>
                </a:solidFill>
              </a:rPr>
              <a:t>Post-process</a:t>
            </a:r>
          </a:p>
        </p:txBody>
      </p:sp>
      <p:sp>
        <p:nvSpPr>
          <p:cNvPr id="47" name="Forme libre : forme 46">
            <a:extLst>
              <a:ext uri="{FF2B5EF4-FFF2-40B4-BE49-F238E27FC236}">
                <a16:creationId xmlns:a16="http://schemas.microsoft.com/office/drawing/2014/main" id="{44BBD47A-56AE-4AB9-B939-DE517C467A88}"/>
              </a:ext>
            </a:extLst>
          </p:cNvPr>
          <p:cNvSpPr/>
          <p:nvPr/>
        </p:nvSpPr>
        <p:spPr>
          <a:xfrm>
            <a:off x="6774953" y="1266752"/>
            <a:ext cx="153590" cy="3633539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3633539"/>
                </a:lnTo>
                <a:lnTo>
                  <a:pt x="153590" y="3633539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8" name="Forme libre : forme 47">
            <a:extLst>
              <a:ext uri="{FF2B5EF4-FFF2-40B4-BE49-F238E27FC236}">
                <a16:creationId xmlns:a16="http://schemas.microsoft.com/office/drawing/2014/main" id="{0C0B99A4-07B3-4F17-AA93-052CF0DCCD33}"/>
              </a:ext>
            </a:extLst>
          </p:cNvPr>
          <p:cNvSpPr/>
          <p:nvPr/>
        </p:nvSpPr>
        <p:spPr>
          <a:xfrm>
            <a:off x="6928544" y="4516315"/>
            <a:ext cx="1228724" cy="767953"/>
          </a:xfrm>
          <a:custGeom>
            <a:avLst/>
            <a:gdLst>
              <a:gd name="connsiteX0" fmla="*/ 0 w 1228724"/>
              <a:gd name="connsiteY0" fmla="*/ 76795 h 767953"/>
              <a:gd name="connsiteX1" fmla="*/ 76795 w 1228724"/>
              <a:gd name="connsiteY1" fmla="*/ 0 h 767953"/>
              <a:gd name="connsiteX2" fmla="*/ 1151929 w 1228724"/>
              <a:gd name="connsiteY2" fmla="*/ 0 h 767953"/>
              <a:gd name="connsiteX3" fmla="*/ 1228724 w 1228724"/>
              <a:gd name="connsiteY3" fmla="*/ 76795 h 767953"/>
              <a:gd name="connsiteX4" fmla="*/ 1228724 w 1228724"/>
              <a:gd name="connsiteY4" fmla="*/ 691158 h 767953"/>
              <a:gd name="connsiteX5" fmla="*/ 1151929 w 1228724"/>
              <a:gd name="connsiteY5" fmla="*/ 767953 h 767953"/>
              <a:gd name="connsiteX6" fmla="*/ 76795 w 1228724"/>
              <a:gd name="connsiteY6" fmla="*/ 767953 h 767953"/>
              <a:gd name="connsiteX7" fmla="*/ 0 w 1228724"/>
              <a:gd name="connsiteY7" fmla="*/ 691158 h 767953"/>
              <a:gd name="connsiteX8" fmla="*/ 0 w 1228724"/>
              <a:gd name="connsiteY8" fmla="*/ 76795 h 767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8724" h="767953">
                <a:moveTo>
                  <a:pt x="0" y="76795"/>
                </a:moveTo>
                <a:cubicBezTo>
                  <a:pt x="0" y="34382"/>
                  <a:pt x="34382" y="0"/>
                  <a:pt x="76795" y="0"/>
                </a:cubicBezTo>
                <a:lnTo>
                  <a:pt x="1151929" y="0"/>
                </a:lnTo>
                <a:cubicBezTo>
                  <a:pt x="1194342" y="0"/>
                  <a:pt x="1228724" y="34382"/>
                  <a:pt x="1228724" y="76795"/>
                </a:cubicBezTo>
                <a:lnTo>
                  <a:pt x="1228724" y="691158"/>
                </a:lnTo>
                <a:cubicBezTo>
                  <a:pt x="1228724" y="733571"/>
                  <a:pt x="1194342" y="767953"/>
                  <a:pt x="1151929" y="767953"/>
                </a:cubicBezTo>
                <a:lnTo>
                  <a:pt x="76795" y="767953"/>
                </a:lnTo>
                <a:cubicBezTo>
                  <a:pt x="34382" y="767953"/>
                  <a:pt x="0" y="733571"/>
                  <a:pt x="0" y="691158"/>
                </a:cubicBezTo>
                <a:lnTo>
                  <a:pt x="0" y="76795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783" tIns="45353" rIns="56783" bIns="45353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>
                <a:solidFill>
                  <a:schemeClr val="accent3">
                    <a:lumMod val="50000"/>
                  </a:schemeClr>
                </a:solidFill>
              </a:rPr>
              <a:t>Plusieurs niveaux</a:t>
            </a:r>
          </a:p>
        </p:txBody>
      </p:sp>
    </p:spTree>
    <p:extLst>
      <p:ext uri="{BB962C8B-B14F-4D97-AF65-F5344CB8AC3E}">
        <p14:creationId xmlns:p14="http://schemas.microsoft.com/office/powerpoint/2010/main" val="34862134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2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2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1" grpId="0" animBg="1"/>
      <p:bldP spid="33" grpId="0" animBg="1"/>
      <p:bldP spid="35" grpId="0" animBg="1"/>
      <p:bldP spid="37" grpId="0" animBg="1"/>
      <p:bldP spid="39" grpId="0" animBg="1"/>
      <p:bldP spid="40" grpId="0" animBg="1"/>
      <p:bldP spid="42" grpId="0" animBg="1"/>
      <p:bldP spid="44" grpId="0" animBg="1"/>
      <p:bldP spid="46" grpId="0" animBg="1"/>
      <p:bldP spid="4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video games*console*controller*play*funny*entertainment*leisure*culture*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Thème Office">
  <a:themeElements>
    <a:clrScheme name="Personnalisé 1">
      <a:dk1>
        <a:srgbClr val="FFFFFF"/>
      </a:dk1>
      <a:lt1>
        <a:sysClr val="window" lastClr="FFFFFF"/>
      </a:lt1>
      <a:dk2>
        <a:srgbClr val="44546A"/>
      </a:dk2>
      <a:lt2>
        <a:srgbClr val="1C0E28"/>
      </a:lt2>
      <a:accent1>
        <a:srgbClr val="ED7D31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4</TotalTime>
  <Words>263</Words>
  <Application>Microsoft Office PowerPoint</Application>
  <PresentationFormat>Grand écran</PresentationFormat>
  <Paragraphs>105</Paragraphs>
  <Slides>13</Slides>
  <Notes>6</Notes>
  <HiddenSlides>0</HiddenSlides>
  <MMClips>0</MMClips>
  <ScaleCrop>false</ScaleCrop>
  <HeadingPairs>
    <vt:vector size="6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13</vt:i4>
      </vt:variant>
    </vt:vector>
  </HeadingPairs>
  <TitlesOfParts>
    <vt:vector size="19" baseType="lpstr">
      <vt:lpstr>Arial</vt:lpstr>
      <vt:lpstr>Calibri</vt:lpstr>
      <vt:lpstr>Calibri Light</vt:lpstr>
      <vt:lpstr>Century Gothic</vt:lpstr>
      <vt:lpstr>VCR OSD Mono</vt:lpstr>
      <vt:lpstr>Thème Office</vt:lpstr>
      <vt:lpstr>Présentation PowerPoint</vt:lpstr>
      <vt:lpstr>Les contraintes</vt:lpstr>
      <vt:lpstr>Les contraintes</vt:lpstr>
      <vt:lpstr>Conception</vt:lpstr>
      <vt:lpstr>Pitch</vt:lpstr>
      <vt:lpstr>Maquette papier</vt:lpstr>
      <vt:lpstr>Maquette papier</vt:lpstr>
      <vt:lpstr>Jeu vidéo</vt:lpstr>
      <vt:lpstr>TODO List</vt:lpstr>
      <vt:lpstr>TODO List</vt:lpstr>
      <vt:lpstr>Bilan</vt:lpstr>
      <vt:lpstr>Bilan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Nathalie Li</dc:creator>
  <cp:lastModifiedBy>THEBAUD Vincent</cp:lastModifiedBy>
  <cp:revision>286</cp:revision>
  <dcterms:created xsi:type="dcterms:W3CDTF">2019-10-08T19:06:31Z</dcterms:created>
  <dcterms:modified xsi:type="dcterms:W3CDTF">2019-10-09T21:30:18Z</dcterms:modified>
</cp:coreProperties>
</file>